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4"/>
  </p:sldMasterIdLst>
  <p:notesMasterIdLst>
    <p:notesMasterId r:id="rId27"/>
  </p:notesMasterIdLst>
  <p:sldIdLst>
    <p:sldId id="2147475164" r:id="rId5"/>
    <p:sldId id="2147475165" r:id="rId6"/>
    <p:sldId id="2147475166" r:id="rId7"/>
    <p:sldId id="2147475167" r:id="rId8"/>
    <p:sldId id="2147475168" r:id="rId9"/>
    <p:sldId id="2147475169" r:id="rId10"/>
    <p:sldId id="2147475170" r:id="rId11"/>
    <p:sldId id="2147475171" r:id="rId12"/>
    <p:sldId id="2147475172" r:id="rId13"/>
    <p:sldId id="2147475173" r:id="rId14"/>
    <p:sldId id="2147475174" r:id="rId15"/>
    <p:sldId id="2147475175" r:id="rId16"/>
    <p:sldId id="2147475176" r:id="rId17"/>
    <p:sldId id="2147475177" r:id="rId18"/>
    <p:sldId id="2147475178" r:id="rId19"/>
    <p:sldId id="2147475179" r:id="rId20"/>
    <p:sldId id="2147475180" r:id="rId21"/>
    <p:sldId id="2147475181" r:id="rId22"/>
    <p:sldId id="2147475182" r:id="rId23"/>
    <p:sldId id="2147475183" r:id="rId24"/>
    <p:sldId id="2147475184" r:id="rId25"/>
    <p:sldId id="2147475185" r:id="rId26"/>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Innovation Summary" id="{671203E1-8B4A-424B-B347-16F1DA3F801B}">
          <p14:sldIdLst>
            <p14:sldId id="2147475164"/>
          </p14:sldIdLst>
        </p14:section>
        <p14:section name="Innovation ranking" id="{5116A526-1190-4737-A1E5-AA91C6A03BEF}">
          <p14:sldIdLst>
            <p14:sldId id="2147475165"/>
            <p14:sldId id="2147475166"/>
            <p14:sldId id="2147475167"/>
            <p14:sldId id="2147475168"/>
            <p14:sldId id="2147475169"/>
            <p14:sldId id="2147475170"/>
            <p14:sldId id="2147475171"/>
          </p14:sldIdLst>
        </p14:section>
        <p14:section name="Innovation potential" id="{E49ACEF0-9A5F-4902-9E7A-BFCB6ABF7D05}">
          <p14:sldIdLst>
            <p14:sldId id="2147475172"/>
            <p14:sldId id="2147475173"/>
            <p14:sldId id="2147475174"/>
            <p14:sldId id="2147475175"/>
            <p14:sldId id="2147475176"/>
            <p14:sldId id="2147475177"/>
            <p14:sldId id="2147475178"/>
          </p14:sldIdLst>
        </p14:section>
        <p14:section name="Innovation sourcing" id="{E859851E-F8D1-4757-AF10-CDDB36C88677}">
          <p14:sldIdLst>
            <p14:sldId id="2147475179"/>
            <p14:sldId id="2147475180"/>
            <p14:sldId id="2147475181"/>
            <p14:sldId id="2147475182"/>
            <p14:sldId id="2147475183"/>
            <p14:sldId id="2147475184"/>
            <p14:sldId id="2147475185"/>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BAB"/>
    <a:srgbClr val="BCBB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1C379-29A0-4008-AA74-7560A203FDDD}" v="98" dt="2025-07-24T09:00:02.1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660"/>
  </p:normalViewPr>
  <p:slideViewPr>
    <p:cSldViewPr snapToGrid="0" showGuides="1">
      <p:cViewPr varScale="1">
        <p:scale>
          <a:sx n="103" d="100"/>
          <a:sy n="103" d="100"/>
        </p:scale>
        <p:origin x="902" y="5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notesMaster" Target="notesMasters/notesMaster1.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3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dvanced Protection Lotion FPS50+ 36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006C6D"/>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AEABAB"/>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7ECAC4"/>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AEABAB"/>
              </a:solidFill>
            </c:spPr>
            <c:extLst>
              <c:ext xmlns:c16="http://schemas.microsoft.com/office/drawing/2014/chart" uri="{C3380CC4-5D6E-409C-BE32-E72D297353CC}">
                <c16:uniqueId val="{00000019-A0D8-4FF8-BF2D-A6DC7B178F5A}"/>
              </c:ext>
            </c:extLst>
          </c:dPt>
          <c:dPt>
            <c:idx val="21"/>
            <c:invertIfNegative val="1"/>
            <c:bubble3D val="0"/>
            <c:spPr>
              <a:solidFill>
                <a:srgbClr val="7ECAC4"/>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7ECAC4"/>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AEABAB"/>
              </a:solidFill>
            </c:spPr>
            <c:extLst>
              <c:ext xmlns:c16="http://schemas.microsoft.com/office/drawing/2014/chart" uri="{C3380CC4-5D6E-409C-BE32-E72D297353CC}">
                <c16:uniqueId val="{00000026-A0D8-4FF8-BF2D-A6DC7B178F5A}"/>
              </c:ext>
            </c:extLst>
          </c:dPt>
          <c:dPt>
            <c:idx val="34"/>
            <c:invertIfNegative val="1"/>
            <c:bubble3D val="0"/>
            <c:spPr>
              <a:solidFill>
                <a:srgbClr val="7ECAC4"/>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7ECAC4"/>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r>
                      <a:rPr sz="500">
                        <a:solidFill>
                          <a:srgbClr val="006C6D"/>
                        </a:solidFill>
                      </a:rPr>
                      <a:t>Banana Boat Advanced Protection Lotion FPS50+ 36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Advanced Protection Lotion FPS50+ 360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Nivea Sun Protect &amp; Refresh Sport Invisible Spray FPS50 200ml</c:v>
                </c:pt>
                <c:pt idx="17">
                  <c:v>Hawaiian Tropic Sheer Touch Lotion FPS30 24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9026965632176</c:v>
                </c:pt>
                <c:pt idx="1">
                  <c:v>0.05663050912729726</c:v>
                </c:pt>
                <c:pt idx="2">
                  <c:v>0.04993674094382119</c:v>
                </c:pt>
                <c:pt idx="3">
                  <c:v>0.04475576284594624</c:v>
                </c:pt>
                <c:pt idx="4">
                  <c:v>0.04217611685118289</c:v>
                </c:pt>
                <c:pt idx="5">
                  <c:v>0.04173131992374947</c:v>
                </c:pt>
                <c:pt idx="6">
                  <c:v>0.03370606833390494</c:v>
                </c:pt>
                <c:pt idx="7">
                  <c:v>0.030363668090319727</c:v>
                </c:pt>
                <c:pt idx="8">
                  <c:v>0.026779876806918835</c:v>
                </c:pt>
                <c:pt idx="9">
                  <c:v>0.026164416104421797</c:v>
                </c:pt>
                <c:pt idx="10">
                  <c:v>0.02290203435768492</c:v>
                </c:pt>
                <c:pt idx="11">
                  <c:v>0.022275396443576765</c:v>
                </c:pt>
                <c:pt idx="12">
                  <c:v>0.022036516997081815</c:v>
                </c:pt>
                <c:pt idx="13">
                  <c:v>0.019843970616742344</c:v>
                </c:pt>
                <c:pt idx="14">
                  <c:v>0.01894420717595607</c:v>
                </c:pt>
                <c:pt idx="15">
                  <c:v>0.01713587182303782</c:v>
                </c:pt>
                <c:pt idx="16">
                  <c:v>0.016840448858584996</c:v>
                </c:pt>
                <c:pt idx="17">
                  <c:v>0.016787939975265297</c:v>
                </c:pt>
                <c:pt idx="18">
                  <c:v>0.015113034678783461</c:v>
                </c:pt>
                <c:pt idx="19">
                  <c:v>0.01469089529183296</c:v>
                </c:pt>
                <c:pt idx="20">
                  <c:v>0.014331332006337436</c:v>
                </c:pt>
                <c:pt idx="21">
                  <c:v>0.013863142051431918</c:v>
                </c:pt>
                <c:pt idx="22">
                  <c:v>0.013249671453159296</c:v>
                </c:pt>
                <c:pt idx="23">
                  <c:v>0.01219385547407889</c:v>
                </c:pt>
                <c:pt idx="24">
                  <c:v>0.012016338477234155</c:v>
                </c:pt>
                <c:pt idx="25">
                  <c:v>0.011890542110341752</c:v>
                </c:pt>
                <c:pt idx="26">
                  <c:v>0.011771670177805981</c:v>
                </c:pt>
                <c:pt idx="27">
                  <c:v>0.011642339718564343</c:v>
                </c:pt>
                <c:pt idx="28">
                  <c:v>0.010776043796204681</c:v>
                </c:pt>
                <c:pt idx="29">
                  <c:v>0.010445451555638492</c:v>
                </c:pt>
                <c:pt idx="30">
                  <c:v>0.01022278626788393</c:v>
                </c:pt>
                <c:pt idx="31">
                  <c:v>0.009806495995669033</c:v>
                </c:pt>
                <c:pt idx="32">
                  <c:v>0.009745020690018685</c:v>
                </c:pt>
                <c:pt idx="33">
                  <c:v>0.009575487576467218</c:v>
                </c:pt>
                <c:pt idx="34">
                  <c:v>0.009363738866303144</c:v>
                </c:pt>
                <c:pt idx="35">
                  <c:v>0.009214676126771819</c:v>
                </c:pt>
                <c:pt idx="36">
                  <c:v>0.009164907093961876</c:v>
                </c:pt>
                <c:pt idx="37">
                  <c:v>0.009126070528352691</c:v>
                </c:pt>
                <c:pt idx="38">
                  <c:v>0.009088490194730132</c:v>
                </c:pt>
                <c:pt idx="39">
                  <c:v>0.007449804510456213</c:v>
                </c:pt>
                <c:pt idx="40">
                  <c:v>0.007164610888488531</c:v>
                </c:pt>
                <c:pt idx="41">
                  <c:v>0.006925241467924274</c:v>
                </c:pt>
                <c:pt idx="42">
                  <c:v>0.006862113537492589</c:v>
                </c:pt>
                <c:pt idx="43">
                  <c:v>0.006800133163788929</c:v>
                </c:pt>
                <c:pt idx="44">
                  <c:v>0.006583347612377897</c:v>
                </c:pt>
                <c:pt idx="45">
                  <c:v>0.006492117934340986</c:v>
                </c:pt>
                <c:pt idx="46">
                  <c:v>0.006406379588858398</c:v>
                </c:pt>
                <c:pt idx="47">
                  <c:v>0.0060352459632930355</c:v>
                </c:pt>
                <c:pt idx="48">
                  <c:v>0.005975664083034299</c:v>
                </c:pt>
                <c:pt idx="49">
                  <c:v>0.005479563218383792</c:v>
                </c:pt>
                <c:pt idx="50">
                  <c:v>0.005166198323589449</c:v>
                </c:pt>
                <c:pt idx="51">
                  <c:v>0.005146042116547703</c:v>
                </c:pt>
                <c:pt idx="52">
                  <c:v>0.004948408406951881</c:v>
                </c:pt>
                <c:pt idx="53">
                  <c:v>0.004748076375609082</c:v>
                </c:pt>
                <c:pt idx="54">
                  <c:v>0.004640814968095307</c:v>
                </c:pt>
                <c:pt idx="55">
                  <c:v>0.004639885899847751</c:v>
                </c:pt>
                <c:pt idx="56">
                  <c:v>0.004529574649592726</c:v>
                </c:pt>
                <c:pt idx="57">
                  <c:v>0.004478235771837544</c:v>
                </c:pt>
                <c:pt idx="58">
                  <c:v>0.0040913611404720185</c:v>
                </c:pt>
                <c:pt idx="59">
                  <c:v>0.004060404637763822</c:v>
                </c:pt>
                <c:pt idx="60">
                  <c:v>0.0038997032300004705</c:v>
                </c:pt>
                <c:pt idx="61">
                  <c:v>0.0037592016307576325</c:v>
                </c:pt>
                <c:pt idx="62">
                  <c:v>0.0035737618876323885</c:v>
                </c:pt>
                <c:pt idx="63">
                  <c:v>0.0034028550133423366</c:v>
                </c:pt>
                <c:pt idx="64">
                  <c:v>0.0030207410873285844</c:v>
                </c:pt>
                <c:pt idx="65">
                  <c:v>0.0029884937202429296</c:v>
                </c:pt>
                <c:pt idx="66">
                  <c:v>0.0027667207756866727</c:v>
                </c:pt>
                <c:pt idx="67">
                  <c:v>0.0026770993922014996</c:v>
                </c:pt>
                <c:pt idx="68">
                  <c:v>0.0018526328014753127</c:v>
                </c:pt>
                <c:pt idx="69">
                  <c:v>0.0016413048509523285</c:v>
                </c:pt>
                <c:pt idx="70">
                  <c:v>0.0016150046548574393</c:v>
                </c:pt>
                <c:pt idx="71">
                  <c:v>0.0014827972271626467</c:v>
                </c:pt>
                <c:pt idx="72">
                  <c:v>0.001465708457961776</c:v>
                </c:pt>
                <c:pt idx="73">
                  <c:v>0.0012778729649721068</c:v>
                </c:pt>
                <c:pt idx="74">
                  <c:v>0.0011971447721517538</c:v>
                </c:pt>
                <c:pt idx="75">
                  <c:v>0.0011359343029434317</c:v>
                </c:pt>
                <c:pt idx="76">
                  <c:v>0.0011155725592433417</c:v>
                </c:pt>
                <c:pt idx="77">
                  <c:v>0.0010742914257065115</c:v>
                </c:pt>
                <c:pt idx="78">
                  <c:v>0.0009036194944072654</c:v>
                </c:pt>
                <c:pt idx="79">
                  <c:v>0.0007106398423003992</c:v>
                </c:pt>
                <c:pt idx="80">
                  <c:v>0.000610123679645228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Ultra-Light FPS50+ 1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extLst>
              <c:ext xmlns:c16="http://schemas.microsoft.com/office/drawing/2014/chart" uri="{C3380CC4-5D6E-409C-BE32-E72D297353CC}">
                <c16:uniqueId val="{0000001D-902D-4251-AC41-C6D4CBCA5CD6}"/>
              </c:ext>
            </c:extLst>
          </c:dPt>
          <c:dPt>
            <c:idx val="15"/>
            <c:invertIfNegative val="1"/>
            <c:bubble3D val="0"/>
            <c:spPr>
              <a:solidFill>
                <a:srgbClr val="7ECAC4"/>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006C6D"/>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7ECAC4"/>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r>
                      <a:rPr sz="500">
                        <a:solidFill>
                          <a:srgbClr val="006C6D"/>
                        </a:solidFill>
                      </a:rPr>
                      <a:t>Hawaiian Tropic Ozono Ultra-Light FPS50+ 1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Hawaiian Tropic Ozono Lotion FPS50+ 120ml</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Ozono Ultra-Light FPS50+ 14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39290048568921</c:v>
                </c:pt>
                <c:pt idx="1">
                  <c:v>0.05761692010107062</c:v>
                </c:pt>
                <c:pt idx="2">
                  <c:v>0.050961128952451716</c:v>
                </c:pt>
                <c:pt idx="3">
                  <c:v>0.04522127364913902</c:v>
                </c:pt>
                <c:pt idx="4">
                  <c:v>0.04344415398237237</c:v>
                </c:pt>
                <c:pt idx="5">
                  <c:v>0.043392305604178893</c:v>
                </c:pt>
                <c:pt idx="6">
                  <c:v>0.03554210811527043</c:v>
                </c:pt>
                <c:pt idx="7">
                  <c:v>0.031122660837529615</c:v>
                </c:pt>
                <c:pt idx="8">
                  <c:v>0.027896302649413982</c:v>
                </c:pt>
                <c:pt idx="9">
                  <c:v>0.027169479716236993</c:v>
                </c:pt>
                <c:pt idx="10">
                  <c:v>0.022650377942970364</c:v>
                </c:pt>
                <c:pt idx="11">
                  <c:v>0.022618232308510226</c:v>
                </c:pt>
                <c:pt idx="12">
                  <c:v>0.020311764122192124</c:v>
                </c:pt>
                <c:pt idx="13">
                  <c:v>0.019398932153394065</c:v>
                </c:pt>
                <c:pt idx="14">
                  <c:v>0.017261432627402488</c:v>
                </c:pt>
                <c:pt idx="15">
                  <c:v>0.017255236330729975</c:v>
                </c:pt>
                <c:pt idx="16">
                  <c:v>0.017107694952352502</c:v>
                </c:pt>
                <c:pt idx="17">
                  <c:v>0.015281227985969065</c:v>
                </c:pt>
                <c:pt idx="18">
                  <c:v>0.01480370457474907</c:v>
                </c:pt>
                <c:pt idx="19">
                  <c:v>0.014632286045608322</c:v>
                </c:pt>
                <c:pt idx="20">
                  <c:v>0.014025201767479465</c:v>
                </c:pt>
                <c:pt idx="21">
                  <c:v>0.013484517921454813</c:v>
                </c:pt>
                <c:pt idx="22">
                  <c:v>0.012448410697697743</c:v>
                </c:pt>
                <c:pt idx="23">
                  <c:v>0.01219666423654451</c:v>
                </c:pt>
                <c:pt idx="24">
                  <c:v>0.011995982613347972</c:v>
                </c:pt>
                <c:pt idx="25">
                  <c:v>0.011985399685788154</c:v>
                </c:pt>
                <c:pt idx="26">
                  <c:v>0.011760743753662619</c:v>
                </c:pt>
                <c:pt idx="27">
                  <c:v>0.01084411911460108</c:v>
                </c:pt>
                <c:pt idx="28">
                  <c:v>0.010542515041620504</c:v>
                </c:pt>
                <c:pt idx="29">
                  <c:v>0.010343599165796875</c:v>
                </c:pt>
                <c:pt idx="30">
                  <c:v>0.00988059359749875</c:v>
                </c:pt>
                <c:pt idx="31">
                  <c:v>0.00987872056894936</c:v>
                </c:pt>
                <c:pt idx="32">
                  <c:v>0.00970812643765917</c:v>
                </c:pt>
                <c:pt idx="33">
                  <c:v>0.009584516257187042</c:v>
                </c:pt>
                <c:pt idx="34">
                  <c:v>0.009273590372398676</c:v>
                </c:pt>
                <c:pt idx="35">
                  <c:v>0.009246949976392436</c:v>
                </c:pt>
                <c:pt idx="36">
                  <c:v>0.009237119058363224</c:v>
                </c:pt>
                <c:pt idx="37">
                  <c:v>0.009233307383118165</c:v>
                </c:pt>
                <c:pt idx="38">
                  <c:v>0.007560435128643865</c:v>
                </c:pt>
                <c:pt idx="39">
                  <c:v>0.0072245433953886905</c:v>
                </c:pt>
                <c:pt idx="40">
                  <c:v>0.007019089867958739</c:v>
                </c:pt>
                <c:pt idx="41">
                  <c:v>0.006945218762683911</c:v>
                </c:pt>
                <c:pt idx="42">
                  <c:v>0.006830131944340514</c:v>
                </c:pt>
                <c:pt idx="43">
                  <c:v>0.006648422595737004</c:v>
                </c:pt>
                <c:pt idx="44">
                  <c:v>0.006568743404920411</c:v>
                </c:pt>
                <c:pt idx="45">
                  <c:v>0.006502665575946039</c:v>
                </c:pt>
                <c:pt idx="46">
                  <c:v>0.0061312496039164915</c:v>
                </c:pt>
                <c:pt idx="47">
                  <c:v>0.00605756865715698</c:v>
                </c:pt>
                <c:pt idx="48">
                  <c:v>0.005560148409529669</c:v>
                </c:pt>
                <c:pt idx="49">
                  <c:v>0.005259557241618107</c:v>
                </c:pt>
                <c:pt idx="50">
                  <c:v>0.0052273487567710535</c:v>
                </c:pt>
                <c:pt idx="51">
                  <c:v>0.005025856556173654</c:v>
                </c:pt>
                <c:pt idx="52">
                  <c:v>0.004834635615416058</c:v>
                </c:pt>
                <c:pt idx="53">
                  <c:v>0.004803442026678839</c:v>
                </c:pt>
                <c:pt idx="54">
                  <c:v>0.00471353510011175</c:v>
                </c:pt>
                <c:pt idx="55">
                  <c:v>0.0045936325781209</c:v>
                </c:pt>
                <c:pt idx="56">
                  <c:v>0.004529465683107644</c:v>
                </c:pt>
                <c:pt idx="57">
                  <c:v>0.004162355852229133</c:v>
                </c:pt>
                <c:pt idx="58">
                  <c:v>0.004103479157299284</c:v>
                </c:pt>
                <c:pt idx="59">
                  <c:v>0.003940009345191924</c:v>
                </c:pt>
                <c:pt idx="60">
                  <c:v>0.0037849048020501194</c:v>
                </c:pt>
                <c:pt idx="61">
                  <c:v>0.003647545109322455</c:v>
                </c:pt>
                <c:pt idx="62">
                  <c:v>0.003447740868166242</c:v>
                </c:pt>
                <c:pt idx="63">
                  <c:v>0.003208975959883098</c:v>
                </c:pt>
                <c:pt idx="64">
                  <c:v>0.00308699392084957</c:v>
                </c:pt>
                <c:pt idx="65">
                  <c:v>0.0030513402580822687</c:v>
                </c:pt>
                <c:pt idx="66">
                  <c:v>0.0027918521172350967</c:v>
                </c:pt>
                <c:pt idx="67">
                  <c:v>0.0026896373433258226</c:v>
                </c:pt>
                <c:pt idx="68">
                  <c:v>0.0018695282519430828</c:v>
                </c:pt>
                <c:pt idx="69">
                  <c:v>0.001653256685502161</c:v>
                </c:pt>
                <c:pt idx="70">
                  <c:v>0.0016353578624419983</c:v>
                </c:pt>
                <c:pt idx="71">
                  <c:v>0.0015052136248903294</c:v>
                </c:pt>
                <c:pt idx="72">
                  <c:v>0.0014957537984645517</c:v>
                </c:pt>
                <c:pt idx="73">
                  <c:v>0.001293558816581779</c:v>
                </c:pt>
                <c:pt idx="74">
                  <c:v>0.0012304374061622096</c:v>
                </c:pt>
                <c:pt idx="75">
                  <c:v>0.00115346999148439</c:v>
                </c:pt>
                <c:pt idx="76">
                  <c:v>0.001123014491948622</c:v>
                </c:pt>
                <c:pt idx="77">
                  <c:v>0.0010853285925882259</c:v>
                </c:pt>
                <c:pt idx="78">
                  <c:v>0.0009196976016962819</c:v>
                </c:pt>
                <c:pt idx="79">
                  <c:v>0.0007160212850095021</c:v>
                </c:pt>
                <c:pt idx="80">
                  <c:v>0.0006186351666403428</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Serum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7ECAC4"/>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006C6D"/>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r>
                      <a:rPr sz="500">
                        <a:solidFill>
                          <a:srgbClr val="006C6D"/>
                        </a:solidFill>
                      </a:rPr>
                      <a:t>Hawaiian Tropic Silk Hydration Serum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L'Oréal Paris UV DEFENDER Colored Fluid FPS50+ 40g</c:v>
                </c:pt>
                <c:pt idx="36">
                  <c:v>Caribbean Beach Kids Cream FPS50+ 250g</c:v>
                </c:pt>
                <c:pt idx="37">
                  <c:v>Hawaiian Tropic Ozono Lotion FPS50+ 120ml</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Hawaiian Tropic Silk Hydration Serum FPS50 10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5141440885907</c:v>
                </c:pt>
                <c:pt idx="1">
                  <c:v>0.057653934824824546</c:v>
                </c:pt>
                <c:pt idx="2">
                  <c:v>0.050989845946645504</c:v>
                </c:pt>
                <c:pt idx="3">
                  <c:v>0.045239010002525525</c:v>
                </c:pt>
                <c:pt idx="4">
                  <c:v>0.04344983924913898</c:v>
                </c:pt>
                <c:pt idx="5">
                  <c:v>0.0434398261975382</c:v>
                </c:pt>
                <c:pt idx="6">
                  <c:v>0.035574456439123346</c:v>
                </c:pt>
                <c:pt idx="7">
                  <c:v>0.031127252066347304</c:v>
                </c:pt>
                <c:pt idx="8">
                  <c:v>0.02793134201712432</c:v>
                </c:pt>
                <c:pt idx="9">
                  <c:v>0.027190011923931404</c:v>
                </c:pt>
                <c:pt idx="10">
                  <c:v>0.022669224615202526</c:v>
                </c:pt>
                <c:pt idx="11">
                  <c:v>0.02262087571491693</c:v>
                </c:pt>
                <c:pt idx="12">
                  <c:v>0.020306599205588527</c:v>
                </c:pt>
                <c:pt idx="13">
                  <c:v>0.01941197020276001</c:v>
                </c:pt>
                <c:pt idx="14">
                  <c:v>0.01727446774363278</c:v>
                </c:pt>
                <c:pt idx="15">
                  <c:v>0.017239033747521032</c:v>
                </c:pt>
                <c:pt idx="16">
                  <c:v>0.017121208375642096</c:v>
                </c:pt>
                <c:pt idx="17">
                  <c:v>0.015276755177081247</c:v>
                </c:pt>
                <c:pt idx="18">
                  <c:v>0.014801479916641047</c:v>
                </c:pt>
                <c:pt idx="19">
                  <c:v>0.014635597677936868</c:v>
                </c:pt>
                <c:pt idx="20">
                  <c:v>0.014017605909262775</c:v>
                </c:pt>
                <c:pt idx="21">
                  <c:v>0.013478950102921931</c:v>
                </c:pt>
                <c:pt idx="22">
                  <c:v>0.012439860536621893</c:v>
                </c:pt>
                <c:pt idx="23">
                  <c:v>0.012186705727385644</c:v>
                </c:pt>
                <c:pt idx="24">
                  <c:v>0.011990017172752665</c:v>
                </c:pt>
                <c:pt idx="25">
                  <c:v>0.011985571677062004</c:v>
                </c:pt>
                <c:pt idx="26">
                  <c:v>0.011757434904516799</c:v>
                </c:pt>
                <c:pt idx="27">
                  <c:v>0.010843275834079649</c:v>
                </c:pt>
                <c:pt idx="28">
                  <c:v>0.01053729186382748</c:v>
                </c:pt>
                <c:pt idx="29">
                  <c:v>0.01034535314578608</c:v>
                </c:pt>
                <c:pt idx="30">
                  <c:v>0.009891236537389396</c:v>
                </c:pt>
                <c:pt idx="31">
                  <c:v>0.009873564537721256</c:v>
                </c:pt>
                <c:pt idx="32">
                  <c:v>0.00970730695913597</c:v>
                </c:pt>
                <c:pt idx="33">
                  <c:v>0.009589274344697198</c:v>
                </c:pt>
                <c:pt idx="34">
                  <c:v>0.0092706831543768</c:v>
                </c:pt>
                <c:pt idx="35">
                  <c:v>0.009239695591905519</c:v>
                </c:pt>
                <c:pt idx="36">
                  <c:v>0.009239659016446277</c:v>
                </c:pt>
                <c:pt idx="37">
                  <c:v>0.00922895431601128</c:v>
                </c:pt>
                <c:pt idx="38">
                  <c:v>0.007556761507343133</c:v>
                </c:pt>
                <c:pt idx="39">
                  <c:v>0.007211463858584274</c:v>
                </c:pt>
                <c:pt idx="40">
                  <c:v>0.007018502429312426</c:v>
                </c:pt>
                <c:pt idx="41">
                  <c:v>0.006929191384872788</c:v>
                </c:pt>
                <c:pt idx="42">
                  <c:v>0.006820152279905076</c:v>
                </c:pt>
                <c:pt idx="43">
                  <c:v>0.0066520349531951056</c:v>
                </c:pt>
                <c:pt idx="44">
                  <c:v>0.00656360803692826</c:v>
                </c:pt>
                <c:pt idx="45">
                  <c:v>0.006498055203073074</c:v>
                </c:pt>
                <c:pt idx="46">
                  <c:v>0.006130239573776684</c:v>
                </c:pt>
                <c:pt idx="47">
                  <c:v>0.006053664295717242</c:v>
                </c:pt>
                <c:pt idx="48">
                  <c:v>0.005557495159649367</c:v>
                </c:pt>
                <c:pt idx="49">
                  <c:v>0.005256495714860221</c:v>
                </c:pt>
                <c:pt idx="50">
                  <c:v>0.0052125900152414925</c:v>
                </c:pt>
                <c:pt idx="51">
                  <c:v>0.005022226861239934</c:v>
                </c:pt>
                <c:pt idx="52">
                  <c:v>0.004828162661590427</c:v>
                </c:pt>
                <c:pt idx="53">
                  <c:v>0.004806523163364195</c:v>
                </c:pt>
                <c:pt idx="54">
                  <c:v>0.004704813160941469</c:v>
                </c:pt>
                <c:pt idx="55">
                  <c:v>0.004589692135231337</c:v>
                </c:pt>
                <c:pt idx="56">
                  <c:v>0.004532342304383955</c:v>
                </c:pt>
                <c:pt idx="57">
                  <c:v>0.004161608050097874</c:v>
                </c:pt>
                <c:pt idx="58">
                  <c:v>0.004100038790783419</c:v>
                </c:pt>
                <c:pt idx="59">
                  <c:v>0.003938883812576438</c:v>
                </c:pt>
                <c:pt idx="60">
                  <c:v>0.003787332325945449</c:v>
                </c:pt>
                <c:pt idx="61">
                  <c:v>0.003647615141123626</c:v>
                </c:pt>
                <c:pt idx="62">
                  <c:v>0.003447537399859434</c:v>
                </c:pt>
                <c:pt idx="63">
                  <c:v>0.003085440980243293</c:v>
                </c:pt>
                <c:pt idx="64">
                  <c:v>0.003055461947403896</c:v>
                </c:pt>
                <c:pt idx="65">
                  <c:v>0.0030528911770792565</c:v>
                </c:pt>
                <c:pt idx="66">
                  <c:v>0.002786336613561339</c:v>
                </c:pt>
                <c:pt idx="67">
                  <c:v>0.002688862104586948</c:v>
                </c:pt>
                <c:pt idx="68">
                  <c:v>0.0018629165514105564</c:v>
                </c:pt>
                <c:pt idx="69">
                  <c:v>0.0016508625317007062</c:v>
                </c:pt>
                <c:pt idx="70">
                  <c:v>0.0016363329121404466</c:v>
                </c:pt>
                <c:pt idx="71">
                  <c:v>0.0015045702201382832</c:v>
                </c:pt>
                <c:pt idx="72">
                  <c:v>0.001493459278101206</c:v>
                </c:pt>
                <c:pt idx="73">
                  <c:v>0.0012947410175170107</c:v>
                </c:pt>
                <c:pt idx="74">
                  <c:v>0.001229089010699395</c:v>
                </c:pt>
                <c:pt idx="75">
                  <c:v>0.001152850222874118</c:v>
                </c:pt>
                <c:pt idx="76">
                  <c:v>0.0011215740169018982</c:v>
                </c:pt>
                <c:pt idx="77">
                  <c:v>0.001080978472083134</c:v>
                </c:pt>
                <c:pt idx="78">
                  <c:v>0.0009159529380904044</c:v>
                </c:pt>
                <c:pt idx="79">
                  <c:v>0.0007146629291454614</c:v>
                </c:pt>
                <c:pt idx="80">
                  <c:v>0.0006194000718438499</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Lip balm FPS30 1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006C6D"/>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r>
                      <a:rPr sz="500">
                        <a:solidFill>
                          <a:srgbClr val="006C6D"/>
                        </a:solidFill>
                      </a:rPr>
                      <a:t>Hawaiian Tropic Silk Hydration Lip balm FPS3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Hawaiian Tropic Silk Hydration Lip balm FPS3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8290881321075</c:v>
                </c:pt>
                <c:pt idx="1">
                  <c:v>0.057669913875772236</c:v>
                </c:pt>
                <c:pt idx="2">
                  <c:v>0.05100104614920872</c:v>
                </c:pt>
                <c:pt idx="3">
                  <c:v>0.04524262085281025</c:v>
                </c:pt>
                <c:pt idx="4">
                  <c:v>0.04347995114382232</c:v>
                </c:pt>
                <c:pt idx="5">
                  <c:v>0.04345956352284647</c:v>
                </c:pt>
                <c:pt idx="6">
                  <c:v>0.03557460115265267</c:v>
                </c:pt>
                <c:pt idx="7">
                  <c:v>0.031147672587277204</c:v>
                </c:pt>
                <c:pt idx="8">
                  <c:v>0.02793714164137349</c:v>
                </c:pt>
                <c:pt idx="9">
                  <c:v>0.027189876909365873</c:v>
                </c:pt>
                <c:pt idx="10">
                  <c:v>0.0226560843711746</c:v>
                </c:pt>
                <c:pt idx="11">
                  <c:v>0.02262429592357319</c:v>
                </c:pt>
                <c:pt idx="12">
                  <c:v>0.020297719424645245</c:v>
                </c:pt>
                <c:pt idx="13">
                  <c:v>0.019412354297998813</c:v>
                </c:pt>
                <c:pt idx="14">
                  <c:v>0.01728273252083012</c:v>
                </c:pt>
                <c:pt idx="15">
                  <c:v>0.01724276143983289</c:v>
                </c:pt>
                <c:pt idx="16">
                  <c:v>0.0171195997836666</c:v>
                </c:pt>
                <c:pt idx="17">
                  <c:v>0.015265376682592067</c:v>
                </c:pt>
                <c:pt idx="18">
                  <c:v>0.01480175713055774</c:v>
                </c:pt>
                <c:pt idx="19">
                  <c:v>0.014614983307310796</c:v>
                </c:pt>
                <c:pt idx="20">
                  <c:v>0.014039676866060575</c:v>
                </c:pt>
                <c:pt idx="21">
                  <c:v>0.013473308207565413</c:v>
                </c:pt>
                <c:pt idx="22">
                  <c:v>0.012433422912423447</c:v>
                </c:pt>
                <c:pt idx="23">
                  <c:v>0.012203253455713766</c:v>
                </c:pt>
                <c:pt idx="24">
                  <c:v>0.011995255157805917</c:v>
                </c:pt>
                <c:pt idx="25">
                  <c:v>0.011971028823848534</c:v>
                </c:pt>
                <c:pt idx="26">
                  <c:v>0.011744833036825346</c:v>
                </c:pt>
                <c:pt idx="27">
                  <c:v>0.010836915132393349</c:v>
                </c:pt>
                <c:pt idx="28">
                  <c:v>0.010518514283227746</c:v>
                </c:pt>
                <c:pt idx="29">
                  <c:v>0.010320300086593438</c:v>
                </c:pt>
                <c:pt idx="30">
                  <c:v>0.00988393172392596</c:v>
                </c:pt>
                <c:pt idx="31">
                  <c:v>0.00985492708577975</c:v>
                </c:pt>
                <c:pt idx="32">
                  <c:v>0.00969907426033394</c:v>
                </c:pt>
                <c:pt idx="33">
                  <c:v>0.009591804508024441</c:v>
                </c:pt>
                <c:pt idx="34">
                  <c:v>0.009263487895151775</c:v>
                </c:pt>
                <c:pt idx="35">
                  <c:v>0.009244763344080116</c:v>
                </c:pt>
                <c:pt idx="36">
                  <c:v>0.009242833265318448</c:v>
                </c:pt>
                <c:pt idx="37">
                  <c:v>0.009217609231532685</c:v>
                </c:pt>
                <c:pt idx="38">
                  <c:v>0.007544000942949164</c:v>
                </c:pt>
                <c:pt idx="39">
                  <c:v>0.0072016748989086445</c:v>
                </c:pt>
                <c:pt idx="40">
                  <c:v>0.007007266295402967</c:v>
                </c:pt>
                <c:pt idx="41">
                  <c:v>0.006917211940983857</c:v>
                </c:pt>
                <c:pt idx="42">
                  <c:v>0.006836443029762285</c:v>
                </c:pt>
                <c:pt idx="43">
                  <c:v>0.006644160348216424</c:v>
                </c:pt>
                <c:pt idx="44">
                  <c:v>0.006558371152409346</c:v>
                </c:pt>
                <c:pt idx="45">
                  <c:v>0.00650455907797528</c:v>
                </c:pt>
                <c:pt idx="46">
                  <c:v>0.006130868058085395</c:v>
                </c:pt>
                <c:pt idx="47">
                  <c:v>0.006039660985543296</c:v>
                </c:pt>
                <c:pt idx="48">
                  <c:v>0.005548754324107131</c:v>
                </c:pt>
                <c:pt idx="49">
                  <c:v>0.005267242801920753</c:v>
                </c:pt>
                <c:pt idx="50">
                  <c:v>0.005217439812817704</c:v>
                </c:pt>
                <c:pt idx="51">
                  <c:v>0.005027796912348551</c:v>
                </c:pt>
                <c:pt idx="52">
                  <c:v>0.00483558191138723</c:v>
                </c:pt>
                <c:pt idx="53">
                  <c:v>0.0048061431790169945</c:v>
                </c:pt>
                <c:pt idx="54">
                  <c:v>0.004706641063872982</c:v>
                </c:pt>
                <c:pt idx="55">
                  <c:v>0.004587703611484792</c:v>
                </c:pt>
                <c:pt idx="56">
                  <c:v>0.004518981025576801</c:v>
                </c:pt>
                <c:pt idx="57">
                  <c:v>0.004160335484120194</c:v>
                </c:pt>
                <c:pt idx="58">
                  <c:v>0.004099655054675087</c:v>
                </c:pt>
                <c:pt idx="59">
                  <c:v>0.003931714713432124</c:v>
                </c:pt>
                <c:pt idx="60">
                  <c:v>0.0037802517937025808</c:v>
                </c:pt>
                <c:pt idx="61">
                  <c:v>0.0036461488322010655</c:v>
                </c:pt>
                <c:pt idx="62">
                  <c:v>0.003449384483321476</c:v>
                </c:pt>
                <c:pt idx="63">
                  <c:v>0.003128424321008453</c:v>
                </c:pt>
                <c:pt idx="64">
                  <c:v>0.003088382144875139</c:v>
                </c:pt>
                <c:pt idx="65">
                  <c:v>0.0030540762835527375</c:v>
                </c:pt>
                <c:pt idx="66">
                  <c:v>0.0027850255567319635</c:v>
                </c:pt>
                <c:pt idx="67">
                  <c:v>0.0026902081441484717</c:v>
                </c:pt>
                <c:pt idx="68">
                  <c:v>0.0018589756370614796</c:v>
                </c:pt>
                <c:pt idx="69">
                  <c:v>0.001645467266597946</c:v>
                </c:pt>
                <c:pt idx="70">
                  <c:v>0.0016342774430306974</c:v>
                </c:pt>
                <c:pt idx="71">
                  <c:v>0.0015052389871508328</c:v>
                </c:pt>
                <c:pt idx="72">
                  <c:v>0.0014852630193365813</c:v>
                </c:pt>
                <c:pt idx="73">
                  <c:v>0.001291329619165855</c:v>
                </c:pt>
                <c:pt idx="74">
                  <c:v>0.0012283516268154463</c:v>
                </c:pt>
                <c:pt idx="75">
                  <c:v>0.0011537060276739551</c:v>
                </c:pt>
                <c:pt idx="76">
                  <c:v>0.0011177840434332315</c:v>
                </c:pt>
                <c:pt idx="77">
                  <c:v>0.0010772704367970436</c:v>
                </c:pt>
                <c:pt idx="78">
                  <c:v>0.000916494493197482</c:v>
                </c:pt>
                <c:pt idx="79">
                  <c:v>0.0007142645376505601</c:v>
                </c:pt>
                <c:pt idx="80">
                  <c:v>0.000619567870423605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Silk Hydration Glow Mist FPS50+ 1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006C6D"/>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r>
                      <a:rPr sz="500">
                        <a:solidFill>
                          <a:srgbClr val="006C6D"/>
                        </a:solidFill>
                      </a:rPr>
                      <a:t>Hawaiian Tropic Silk Hydration Glow Mist FPS50+ 1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Hawaiian Tropic Silk Hydration Glow Mist FPS50+ 10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7988833014</c:v>
                </c:pt>
                <c:pt idx="1">
                  <c:v>0.057720872920682086</c:v>
                </c:pt>
                <c:pt idx="2">
                  <c:v>0.051035505642474374</c:v>
                </c:pt>
                <c:pt idx="3">
                  <c:v>0.04529721429085083</c:v>
                </c:pt>
                <c:pt idx="4">
                  <c:v>0.043502025840678284</c:v>
                </c:pt>
                <c:pt idx="5">
                  <c:v>0.043471898493294164</c:v>
                </c:pt>
                <c:pt idx="6">
                  <c:v>0.03559710676828547</c:v>
                </c:pt>
                <c:pt idx="7">
                  <c:v>0.031152763945719926</c:v>
                </c:pt>
                <c:pt idx="8">
                  <c:v>0.027949356357386216</c:v>
                </c:pt>
                <c:pt idx="9">
                  <c:v>0.027207973333783417</c:v>
                </c:pt>
                <c:pt idx="10">
                  <c:v>0.02269022649989874</c:v>
                </c:pt>
                <c:pt idx="11">
                  <c:v>0.02264441421892009</c:v>
                </c:pt>
                <c:pt idx="12">
                  <c:v>0.0203279697301529</c:v>
                </c:pt>
                <c:pt idx="13">
                  <c:v>0.019423808795131805</c:v>
                </c:pt>
                <c:pt idx="14">
                  <c:v>0.017289189774076997</c:v>
                </c:pt>
                <c:pt idx="15">
                  <c:v>0.01726828063027129</c:v>
                </c:pt>
                <c:pt idx="16">
                  <c:v>0.01713553505307864</c:v>
                </c:pt>
                <c:pt idx="17">
                  <c:v>0.015294775434790034</c:v>
                </c:pt>
                <c:pt idx="18">
                  <c:v>0.014820130395797337</c:v>
                </c:pt>
                <c:pt idx="19">
                  <c:v>0.014640353047997498</c:v>
                </c:pt>
                <c:pt idx="20">
                  <c:v>0.01405226379916808</c:v>
                </c:pt>
                <c:pt idx="21">
                  <c:v>0.013495246160869718</c:v>
                </c:pt>
                <c:pt idx="22">
                  <c:v>0.012454284180743477</c:v>
                </c:pt>
                <c:pt idx="23">
                  <c:v>0.012207912219199047</c:v>
                </c:pt>
                <c:pt idx="24">
                  <c:v>0.01200305085129241</c:v>
                </c:pt>
                <c:pt idx="25">
                  <c:v>0.01198470016214184</c:v>
                </c:pt>
                <c:pt idx="26">
                  <c:v>0.011767471263965332</c:v>
                </c:pt>
                <c:pt idx="27">
                  <c:v>0.010854282396732116</c:v>
                </c:pt>
                <c:pt idx="28">
                  <c:v>0.010546404653164063</c:v>
                </c:pt>
                <c:pt idx="29">
                  <c:v>0.010343115955406159</c:v>
                </c:pt>
                <c:pt idx="30">
                  <c:v>0.009895698882540474</c:v>
                </c:pt>
                <c:pt idx="31">
                  <c:v>0.009883190850399834</c:v>
                </c:pt>
                <c:pt idx="32">
                  <c:v>0.009716134271154293</c:v>
                </c:pt>
                <c:pt idx="33">
                  <c:v>0.009590936542046735</c:v>
                </c:pt>
                <c:pt idx="34">
                  <c:v>0.009282172961324237</c:v>
                </c:pt>
                <c:pt idx="35">
                  <c:v>0.009251826643594533</c:v>
                </c:pt>
                <c:pt idx="36">
                  <c:v>0.009248187062931673</c:v>
                </c:pt>
                <c:pt idx="37">
                  <c:v>0.00923920659550232</c:v>
                </c:pt>
                <c:pt idx="38">
                  <c:v>0.007553556274227464</c:v>
                </c:pt>
                <c:pt idx="39">
                  <c:v>0.007221754630766392</c:v>
                </c:pt>
                <c:pt idx="40">
                  <c:v>0.007027358315260196</c:v>
                </c:pt>
                <c:pt idx="41">
                  <c:v>0.006943431024231079</c:v>
                </c:pt>
                <c:pt idx="42">
                  <c:v>0.006843765766239545</c:v>
                </c:pt>
                <c:pt idx="43">
                  <c:v>0.006652859512078418</c:v>
                </c:pt>
                <c:pt idx="44">
                  <c:v>0.006573942507165265</c:v>
                </c:pt>
                <c:pt idx="45">
                  <c:v>0.0065135942867116095</c:v>
                </c:pt>
                <c:pt idx="46">
                  <c:v>0.0061383838531141235</c:v>
                </c:pt>
                <c:pt idx="47">
                  <c:v>0.006057925288283118</c:v>
                </c:pt>
                <c:pt idx="48">
                  <c:v>0.005563831152761488</c:v>
                </c:pt>
                <c:pt idx="49">
                  <c:v>0.005257636174035974</c:v>
                </c:pt>
                <c:pt idx="50">
                  <c:v>0.005215283849429898</c:v>
                </c:pt>
                <c:pt idx="51">
                  <c:v>0.005029438259716095</c:v>
                </c:pt>
                <c:pt idx="52">
                  <c:v>0.004837839159849184</c:v>
                </c:pt>
                <c:pt idx="53">
                  <c:v>0.004813242867428936</c:v>
                </c:pt>
                <c:pt idx="54">
                  <c:v>0.004714090033189724</c:v>
                </c:pt>
                <c:pt idx="55">
                  <c:v>0.004603108487795099</c:v>
                </c:pt>
                <c:pt idx="56">
                  <c:v>0.004535375872474382</c:v>
                </c:pt>
                <c:pt idx="57">
                  <c:v>0.004165687453006551</c:v>
                </c:pt>
                <c:pt idx="58">
                  <c:v>0.00410694417940265</c:v>
                </c:pt>
                <c:pt idx="59">
                  <c:v>0.003950900240472395</c:v>
                </c:pt>
                <c:pt idx="60">
                  <c:v>0.003784899600454803</c:v>
                </c:pt>
                <c:pt idx="61">
                  <c:v>0.0036492790362622957</c:v>
                </c:pt>
                <c:pt idx="62">
                  <c:v>0.003451772818452077</c:v>
                </c:pt>
                <c:pt idx="63">
                  <c:v>0.0030895842319277416</c:v>
                </c:pt>
                <c:pt idx="64">
                  <c:v>0.0030546251082165647</c:v>
                </c:pt>
                <c:pt idx="65">
                  <c:v>0.002789156890320834</c:v>
                </c:pt>
                <c:pt idx="66">
                  <c:v>0.002688157496205508</c:v>
                </c:pt>
                <c:pt idx="67">
                  <c:v>0.0020711394486087778</c:v>
                </c:pt>
                <c:pt idx="68">
                  <c:v>0.0018656182466021088</c:v>
                </c:pt>
                <c:pt idx="69">
                  <c:v>0.00164906879366254</c:v>
                </c:pt>
                <c:pt idx="70">
                  <c:v>0.0016352166803877053</c:v>
                </c:pt>
                <c:pt idx="71">
                  <c:v>0.0015053560731684043</c:v>
                </c:pt>
                <c:pt idx="72">
                  <c:v>0.0014917381546967043</c:v>
                </c:pt>
                <c:pt idx="73">
                  <c:v>0.0012904189826196898</c:v>
                </c:pt>
                <c:pt idx="74">
                  <c:v>0.0012314456888632681</c:v>
                </c:pt>
                <c:pt idx="75">
                  <c:v>0.001154501090257983</c:v>
                </c:pt>
                <c:pt idx="76">
                  <c:v>0.0011207619230250972</c:v>
                </c:pt>
                <c:pt idx="77">
                  <c:v>0.0010832300278901938</c:v>
                </c:pt>
                <c:pt idx="78">
                  <c:v>0.0009170354495899169</c:v>
                </c:pt>
                <c:pt idx="79">
                  <c:v>0.0007165015498477073</c:v>
                </c:pt>
                <c:pt idx="80">
                  <c:v>0.000619258012552466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Aqua Protect Sport Spray FPS50+ 24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006C6D"/>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7ECAC4"/>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r>
                      <a:rPr sz="500">
                        <a:solidFill>
                          <a:srgbClr val="006C6D"/>
                        </a:solidFill>
                      </a:rPr>
                      <a:t>Banana Boat Aqua Protect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Aqua Protect Sport Spray FPS50+ 240ml</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19680253603585</c:v>
                </c:pt>
                <c:pt idx="1">
                  <c:v>0.05738467217662225</c:v>
                </c:pt>
                <c:pt idx="2">
                  <c:v>0.05086842923879871</c:v>
                </c:pt>
                <c:pt idx="3">
                  <c:v>0.04520423033128755</c:v>
                </c:pt>
                <c:pt idx="4">
                  <c:v>0.04333058688349249</c:v>
                </c:pt>
                <c:pt idx="5">
                  <c:v>0.04330382920269826</c:v>
                </c:pt>
                <c:pt idx="6">
                  <c:v>0.03541789173329504</c:v>
                </c:pt>
                <c:pt idx="7">
                  <c:v>0.030895498633745532</c:v>
                </c:pt>
                <c:pt idx="8">
                  <c:v>0.027817860414081443</c:v>
                </c:pt>
                <c:pt idx="9">
                  <c:v>0.02698642096970106</c:v>
                </c:pt>
                <c:pt idx="10">
                  <c:v>0.022601396978396766</c:v>
                </c:pt>
                <c:pt idx="11">
                  <c:v>0.02248992268857067</c:v>
                </c:pt>
                <c:pt idx="12">
                  <c:v>0.020246337961338737</c:v>
                </c:pt>
                <c:pt idx="13">
                  <c:v>0.019291100206824414</c:v>
                </c:pt>
                <c:pt idx="14">
                  <c:v>0.017229070245822053</c:v>
                </c:pt>
                <c:pt idx="15">
                  <c:v>0.0172202107917267</c:v>
                </c:pt>
                <c:pt idx="16">
                  <c:v>0.017065659943231323</c:v>
                </c:pt>
                <c:pt idx="17">
                  <c:v>0.015268579929434962</c:v>
                </c:pt>
                <c:pt idx="18">
                  <c:v>0.014758452631656609</c:v>
                </c:pt>
                <c:pt idx="19">
                  <c:v>0.014630415922116776</c:v>
                </c:pt>
                <c:pt idx="20">
                  <c:v>0.014024500451278815</c:v>
                </c:pt>
                <c:pt idx="21">
                  <c:v>0.013450821111658401</c:v>
                </c:pt>
                <c:pt idx="22">
                  <c:v>0.012405429966027323</c:v>
                </c:pt>
                <c:pt idx="23">
                  <c:v>0.012020563308082611</c:v>
                </c:pt>
                <c:pt idx="24">
                  <c:v>0.011984635222990685</c:v>
                </c:pt>
                <c:pt idx="25">
                  <c:v>0.011940577242093726</c:v>
                </c:pt>
                <c:pt idx="26">
                  <c:v>0.011747904910178507</c:v>
                </c:pt>
                <c:pt idx="27">
                  <c:v>0.010828424657115254</c:v>
                </c:pt>
                <c:pt idx="28">
                  <c:v>0.01053577755968456</c:v>
                </c:pt>
                <c:pt idx="29">
                  <c:v>0.010344855149068943</c:v>
                </c:pt>
                <c:pt idx="30">
                  <c:v>0.009875566701173098</c:v>
                </c:pt>
                <c:pt idx="31">
                  <c:v>0.00985976096102648</c:v>
                </c:pt>
                <c:pt idx="32">
                  <c:v>0.009704648619496142</c:v>
                </c:pt>
                <c:pt idx="33">
                  <c:v>0.009576687673770557</c:v>
                </c:pt>
                <c:pt idx="34">
                  <c:v>0.009275648470839863</c:v>
                </c:pt>
                <c:pt idx="35">
                  <c:v>0.009229473978140513</c:v>
                </c:pt>
                <c:pt idx="36">
                  <c:v>0.009219201095926943</c:v>
                </c:pt>
                <c:pt idx="37">
                  <c:v>0.009213608814202252</c:v>
                </c:pt>
                <c:pt idx="38">
                  <c:v>0.007530911235674516</c:v>
                </c:pt>
                <c:pt idx="39">
                  <c:v>0.0072217959233221</c:v>
                </c:pt>
                <c:pt idx="40">
                  <c:v>0.0070151228265986</c:v>
                </c:pt>
                <c:pt idx="41">
                  <c:v>0.0069305658983406055</c:v>
                </c:pt>
                <c:pt idx="42">
                  <c:v>0.006822545231632033</c:v>
                </c:pt>
                <c:pt idx="43">
                  <c:v>0.006637984203992581</c:v>
                </c:pt>
                <c:pt idx="44">
                  <c:v>0.006552120242936886</c:v>
                </c:pt>
                <c:pt idx="45">
                  <c:v>0.0064492392608999855</c:v>
                </c:pt>
                <c:pt idx="46">
                  <c:v>0.006210245631778811</c:v>
                </c:pt>
                <c:pt idx="47">
                  <c:v>0.006088688774728188</c:v>
                </c:pt>
                <c:pt idx="48">
                  <c:v>0.006043454136572195</c:v>
                </c:pt>
                <c:pt idx="49">
                  <c:v>0.005541208144982259</c:v>
                </c:pt>
                <c:pt idx="50">
                  <c:v>0.005242489846837623</c:v>
                </c:pt>
                <c:pt idx="51">
                  <c:v>0.005191323876965463</c:v>
                </c:pt>
                <c:pt idx="52">
                  <c:v>0.0049952932096061515</c:v>
                </c:pt>
                <c:pt idx="53">
                  <c:v>0.0047755077394173616</c:v>
                </c:pt>
                <c:pt idx="54">
                  <c:v>0.004760971373249474</c:v>
                </c:pt>
                <c:pt idx="55">
                  <c:v>0.004700601463143881</c:v>
                </c:pt>
                <c:pt idx="56">
                  <c:v>0.004577105984972952</c:v>
                </c:pt>
                <c:pt idx="57">
                  <c:v>0.004536570739871273</c:v>
                </c:pt>
                <c:pt idx="58">
                  <c:v>0.004101392639375625</c:v>
                </c:pt>
                <c:pt idx="59">
                  <c:v>0.004091937085702621</c:v>
                </c:pt>
                <c:pt idx="60">
                  <c:v>0.003940861120663282</c:v>
                </c:pt>
                <c:pt idx="61">
                  <c:v>0.0037725623847808974</c:v>
                </c:pt>
                <c:pt idx="62">
                  <c:v>0.0036291457123819033</c:v>
                </c:pt>
                <c:pt idx="63">
                  <c:v>0.0034416344318070158</c:v>
                </c:pt>
                <c:pt idx="64">
                  <c:v>0.0030601680660789663</c:v>
                </c:pt>
                <c:pt idx="65">
                  <c:v>0.003025514415607772</c:v>
                </c:pt>
                <c:pt idx="66">
                  <c:v>0.002782197067086151</c:v>
                </c:pt>
                <c:pt idx="67">
                  <c:v>0.0026819361073437582</c:v>
                </c:pt>
                <c:pt idx="68">
                  <c:v>0.001859204474072016</c:v>
                </c:pt>
                <c:pt idx="69">
                  <c:v>0.0016506827829952243</c:v>
                </c:pt>
                <c:pt idx="70">
                  <c:v>0.0016251790603494984</c:v>
                </c:pt>
                <c:pt idx="71">
                  <c:v>0.0014882326714780105</c:v>
                </c:pt>
                <c:pt idx="72">
                  <c:v>0.0014857420795246971</c:v>
                </c:pt>
                <c:pt idx="73">
                  <c:v>0.0012898986215958343</c:v>
                </c:pt>
                <c:pt idx="74">
                  <c:v>0.0012194073739001134</c:v>
                </c:pt>
                <c:pt idx="75">
                  <c:v>0.001146452675915191</c:v>
                </c:pt>
                <c:pt idx="76">
                  <c:v>0.0011151762950450319</c:v>
                </c:pt>
                <c:pt idx="77">
                  <c:v>0.0010807385951723807</c:v>
                </c:pt>
                <c:pt idx="78">
                  <c:v>0.0009169948401230192</c:v>
                </c:pt>
                <c:pt idx="79">
                  <c:v>0.00071436133391503</c:v>
                </c:pt>
                <c:pt idx="80">
                  <c:v>0.0006113791079308017</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Stick FPS50+ 40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Dry Balance Sport Stick FPS50+ 4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Dry Balance Sport Stick FPS50+ 40g</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3593394539064</c:v>
                </c:pt>
                <c:pt idx="1">
                  <c:v>0.057659695215661645</c:v>
                </c:pt>
                <c:pt idx="2">
                  <c:v>0.05104511771151692</c:v>
                </c:pt>
                <c:pt idx="3">
                  <c:v>0.04530660154702952</c:v>
                </c:pt>
                <c:pt idx="4">
                  <c:v>0.0435404622123901</c:v>
                </c:pt>
                <c:pt idx="5">
                  <c:v>0.0434991268618402</c:v>
                </c:pt>
                <c:pt idx="6">
                  <c:v>0.03560685968410231</c:v>
                </c:pt>
                <c:pt idx="7">
                  <c:v>0.03113131722865819</c:v>
                </c:pt>
                <c:pt idx="8">
                  <c:v>0.027950089333194945</c:v>
                </c:pt>
                <c:pt idx="9">
                  <c:v>0.02720220076790889</c:v>
                </c:pt>
                <c:pt idx="10">
                  <c:v>0.022694442765283564</c:v>
                </c:pt>
                <c:pt idx="11">
                  <c:v>0.02260770857853973</c:v>
                </c:pt>
                <c:pt idx="12">
                  <c:v>0.020332086285221963</c:v>
                </c:pt>
                <c:pt idx="13">
                  <c:v>0.019409097495612277</c:v>
                </c:pt>
                <c:pt idx="14">
                  <c:v>0.017299936957823208</c:v>
                </c:pt>
                <c:pt idx="15">
                  <c:v>0.017269027128541902</c:v>
                </c:pt>
                <c:pt idx="16">
                  <c:v>0.017129428900825135</c:v>
                </c:pt>
                <c:pt idx="17">
                  <c:v>0.015300942400360082</c:v>
                </c:pt>
                <c:pt idx="18">
                  <c:v>0.01480969411766862</c:v>
                </c:pt>
                <c:pt idx="19">
                  <c:v>0.014656431584780161</c:v>
                </c:pt>
                <c:pt idx="20">
                  <c:v>0.014071797626185677</c:v>
                </c:pt>
                <c:pt idx="21">
                  <c:v>0.013504894163045875</c:v>
                </c:pt>
                <c:pt idx="22">
                  <c:v>0.012454817041380212</c:v>
                </c:pt>
                <c:pt idx="23">
                  <c:v>0.012156998399738037</c:v>
                </c:pt>
                <c:pt idx="24">
                  <c:v>0.012006574117825665</c:v>
                </c:pt>
                <c:pt idx="25">
                  <c:v>0.01198907370474255</c:v>
                </c:pt>
                <c:pt idx="26">
                  <c:v>0.011770211254224323</c:v>
                </c:pt>
                <c:pt idx="27">
                  <c:v>0.010850363920835</c:v>
                </c:pt>
                <c:pt idx="28">
                  <c:v>0.010558303480337866</c:v>
                </c:pt>
                <c:pt idx="29">
                  <c:v>0.010351122493888344</c:v>
                </c:pt>
                <c:pt idx="30">
                  <c:v>0.009890333712902752</c:v>
                </c:pt>
                <c:pt idx="31">
                  <c:v>0.00988440704638132</c:v>
                </c:pt>
                <c:pt idx="32">
                  <c:v>0.009728900638728671</c:v>
                </c:pt>
                <c:pt idx="33">
                  <c:v>0.009612808875066664</c:v>
                </c:pt>
                <c:pt idx="34">
                  <c:v>0.009290093989057823</c:v>
                </c:pt>
                <c:pt idx="35">
                  <c:v>0.009263609115919762</c:v>
                </c:pt>
                <c:pt idx="36">
                  <c:v>0.009252059782216715</c:v>
                </c:pt>
                <c:pt idx="37">
                  <c:v>0.00925048085346964</c:v>
                </c:pt>
                <c:pt idx="38">
                  <c:v>0.007566367483841733</c:v>
                </c:pt>
                <c:pt idx="39">
                  <c:v>0.0072315958979151124</c:v>
                </c:pt>
                <c:pt idx="40">
                  <c:v>0.007033667766199862</c:v>
                </c:pt>
                <c:pt idx="41">
                  <c:v>0.006939379348895283</c:v>
                </c:pt>
                <c:pt idx="42">
                  <c:v>0.006839846138670068</c:v>
                </c:pt>
                <c:pt idx="43">
                  <c:v>0.00665290135233234</c:v>
                </c:pt>
                <c:pt idx="44">
                  <c:v>0.006572390887439885</c:v>
                </c:pt>
                <c:pt idx="45">
                  <c:v>0.006500544219881513</c:v>
                </c:pt>
                <c:pt idx="46">
                  <c:v>0.006124105238115199</c:v>
                </c:pt>
                <c:pt idx="47">
                  <c:v>0.006063929165618072</c:v>
                </c:pt>
                <c:pt idx="48">
                  <c:v>0.00555886908932958</c:v>
                </c:pt>
                <c:pt idx="49">
                  <c:v>0.0052746282837754545</c:v>
                </c:pt>
                <c:pt idx="50">
                  <c:v>0.0052271328708154196</c:v>
                </c:pt>
                <c:pt idx="51">
                  <c:v>0.005025670452121012</c:v>
                </c:pt>
                <c:pt idx="52">
                  <c:v>0.00482580376877212</c:v>
                </c:pt>
                <c:pt idx="53">
                  <c:v>0.004804327271912208</c:v>
                </c:pt>
                <c:pt idx="54">
                  <c:v>0.004715744332809351</c:v>
                </c:pt>
                <c:pt idx="55">
                  <c:v>0.004595273368742913</c:v>
                </c:pt>
                <c:pt idx="56">
                  <c:v>0.004536969110435758</c:v>
                </c:pt>
                <c:pt idx="57">
                  <c:v>0.004157506860687786</c:v>
                </c:pt>
                <c:pt idx="58">
                  <c:v>0.004102675466715121</c:v>
                </c:pt>
                <c:pt idx="59">
                  <c:v>0.003949651447060658</c:v>
                </c:pt>
                <c:pt idx="60">
                  <c:v>0.0037853118246729167</c:v>
                </c:pt>
                <c:pt idx="61">
                  <c:v>0.003649550665525273</c:v>
                </c:pt>
                <c:pt idx="62">
                  <c:v>0.0034533811228186673</c:v>
                </c:pt>
                <c:pt idx="63">
                  <c:v>0.003086716540301782</c:v>
                </c:pt>
                <c:pt idx="64">
                  <c:v>0.0030479690955595765</c:v>
                </c:pt>
                <c:pt idx="65">
                  <c:v>0.002786438814140624</c:v>
                </c:pt>
                <c:pt idx="66">
                  <c:v>0.002689151092116904</c:v>
                </c:pt>
                <c:pt idx="67">
                  <c:v>0.0020423592006343786</c:v>
                </c:pt>
                <c:pt idx="68">
                  <c:v>0.0018694827026608904</c:v>
                </c:pt>
                <c:pt idx="69">
                  <c:v>0.0016540953100851758</c:v>
                </c:pt>
                <c:pt idx="70">
                  <c:v>0.0016311244085207997</c:v>
                </c:pt>
                <c:pt idx="71">
                  <c:v>0.0014991662485609857</c:v>
                </c:pt>
                <c:pt idx="72">
                  <c:v>0.0014941229013151753</c:v>
                </c:pt>
                <c:pt idx="73">
                  <c:v>0.0012941766621935948</c:v>
                </c:pt>
                <c:pt idx="74">
                  <c:v>0.001230595479196185</c:v>
                </c:pt>
                <c:pt idx="75">
                  <c:v>0.0011535142314735042</c:v>
                </c:pt>
                <c:pt idx="76">
                  <c:v>0.0011219064952977897</c:v>
                </c:pt>
                <c:pt idx="77">
                  <c:v>0.0010849227566872388</c:v>
                </c:pt>
                <c:pt idx="78">
                  <c:v>0.0009184378386395675</c:v>
                </c:pt>
                <c:pt idx="79">
                  <c:v>0.0007160294895445249</c:v>
                </c:pt>
                <c:pt idx="80">
                  <c:v>0.000619516359671571</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Dry Balance Sport Aerosol FPS50+ 2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7ECAC4"/>
              </a:solidFill>
            </c:spPr>
            <c:extLst>
              <c:ext xmlns:c16="http://schemas.microsoft.com/office/drawing/2014/chart" uri="{C3380CC4-5D6E-409C-BE32-E72D297353CC}">
                <c16:uniqueId val="{00000047-902D-4251-AC41-C6D4CBCA5CD6}"/>
              </c:ext>
            </c:extLst>
          </c:dPt>
          <c:dPt>
            <c:idx val="36"/>
            <c:invertIfNegative val="1"/>
            <c:bubble3D val="0"/>
            <c:spPr>
              <a:solidFill>
                <a:srgbClr val="AEABAB"/>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006C6D"/>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AEABAB"/>
              </a:solidFill>
            </c:spPr>
            <c:extLst>
              <c:ext xmlns:c16="http://schemas.microsoft.com/office/drawing/2014/chart" uri="{C3380CC4-5D6E-409C-BE32-E72D297353CC}">
                <c16:uniqueId val="{00000087-B2E8-4080-83D6-EECA18439E6A}"/>
              </c:ext>
            </c:extLst>
          </c:dPt>
          <c:dPt>
            <c:idx val="68"/>
            <c:invertIfNegative val="1"/>
            <c:bubble3D val="0"/>
            <c:spPr>
              <a:solidFill>
                <a:srgbClr val="7ECAC4"/>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r>
                      <a:rPr sz="500">
                        <a:solidFill>
                          <a:srgbClr val="006C6D"/>
                        </a:solidFill>
                      </a:rPr>
                      <a:t>Banana Boat Dry Balance Sport Aerosol FPS50+ 2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Banana Boat Dry Balance Sport Aerosol FPS50+ 200ml</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416554248639</c:v>
                </c:pt>
                <c:pt idx="1">
                  <c:v>0.05759960535378112</c:v>
                </c:pt>
                <c:pt idx="2">
                  <c:v>0.05099554922282196</c:v>
                </c:pt>
                <c:pt idx="3">
                  <c:v>0.045291328957231924</c:v>
                </c:pt>
                <c:pt idx="4">
                  <c:v>0.04345999150455921</c:v>
                </c:pt>
                <c:pt idx="5">
                  <c:v>0.04342818640685366</c:v>
                </c:pt>
                <c:pt idx="6">
                  <c:v>0.03555870594573557</c:v>
                </c:pt>
                <c:pt idx="7">
                  <c:v>0.031042362243785947</c:v>
                </c:pt>
                <c:pt idx="8">
                  <c:v>0.027920871066470548</c:v>
                </c:pt>
                <c:pt idx="9">
                  <c:v>0.027162261050185554</c:v>
                </c:pt>
                <c:pt idx="10">
                  <c:v>0.022683810116671203</c:v>
                </c:pt>
                <c:pt idx="11">
                  <c:v>0.022599109392061854</c:v>
                </c:pt>
                <c:pt idx="12">
                  <c:v>0.02032092534373507</c:v>
                </c:pt>
                <c:pt idx="13">
                  <c:v>0.01938038282701744</c:v>
                </c:pt>
                <c:pt idx="14">
                  <c:v>0.017277140407953945</c:v>
                </c:pt>
                <c:pt idx="15">
                  <c:v>0.017269601419091375</c:v>
                </c:pt>
                <c:pt idx="16">
                  <c:v>0.017102830823705915</c:v>
                </c:pt>
                <c:pt idx="17">
                  <c:v>0.015296689696083818</c:v>
                </c:pt>
                <c:pt idx="18">
                  <c:v>0.014805156135345823</c:v>
                </c:pt>
                <c:pt idx="19">
                  <c:v>0.014652672212159462</c:v>
                </c:pt>
                <c:pt idx="20">
                  <c:v>0.01406178316633642</c:v>
                </c:pt>
                <c:pt idx="21">
                  <c:v>0.013496163224231769</c:v>
                </c:pt>
                <c:pt idx="22">
                  <c:v>0.012450787222343267</c:v>
                </c:pt>
                <c:pt idx="23">
                  <c:v>0.012118309905632762</c:v>
                </c:pt>
                <c:pt idx="24">
                  <c:v>0.012003370643745442</c:v>
                </c:pt>
                <c:pt idx="25">
                  <c:v>0.011980156840995699</c:v>
                </c:pt>
                <c:pt idx="26">
                  <c:v>0.011769712355308354</c:v>
                </c:pt>
                <c:pt idx="27">
                  <c:v>0.010847987543491205</c:v>
                </c:pt>
                <c:pt idx="28">
                  <c:v>0.010552162861004452</c:v>
                </c:pt>
                <c:pt idx="29">
                  <c:v>0.010360050769360182</c:v>
                </c:pt>
                <c:pt idx="30">
                  <c:v>0.009889918589437585</c:v>
                </c:pt>
                <c:pt idx="31">
                  <c:v>0.009874630870913222</c:v>
                </c:pt>
                <c:pt idx="32">
                  <c:v>0.009723225520314481</c:v>
                </c:pt>
                <c:pt idx="33">
                  <c:v>0.009600033182461014</c:v>
                </c:pt>
                <c:pt idx="34">
                  <c:v>0.00929682314996675</c:v>
                </c:pt>
                <c:pt idx="35">
                  <c:v>0.009254965042882693</c:v>
                </c:pt>
                <c:pt idx="36">
                  <c:v>0.00925290588403141</c:v>
                </c:pt>
                <c:pt idx="37">
                  <c:v>0.009252013665598526</c:v>
                </c:pt>
                <c:pt idx="38">
                  <c:v>0.007559406649630243</c:v>
                </c:pt>
                <c:pt idx="39">
                  <c:v>0.007235205537087322</c:v>
                </c:pt>
                <c:pt idx="40">
                  <c:v>0.007032673429537584</c:v>
                </c:pt>
                <c:pt idx="41">
                  <c:v>0.006948454651356195</c:v>
                </c:pt>
                <c:pt idx="42">
                  <c:v>0.006840263239195114</c:v>
                </c:pt>
                <c:pt idx="43">
                  <c:v>0.006651740194875648</c:v>
                </c:pt>
                <c:pt idx="44">
                  <c:v>0.006573537582349435</c:v>
                </c:pt>
                <c:pt idx="45">
                  <c:v>0.006483309773267944</c:v>
                </c:pt>
                <c:pt idx="46">
                  <c:v>0.006116078289183342</c:v>
                </c:pt>
                <c:pt idx="47">
                  <c:v>0.006060153122620675</c:v>
                </c:pt>
                <c:pt idx="48">
                  <c:v>0.005562364398290197</c:v>
                </c:pt>
                <c:pt idx="49">
                  <c:v>0.00526006111783187</c:v>
                </c:pt>
                <c:pt idx="50">
                  <c:v>0.005218716747369915</c:v>
                </c:pt>
                <c:pt idx="51">
                  <c:v>0.005024112623013055</c:v>
                </c:pt>
                <c:pt idx="52">
                  <c:v>0.004808726354956128</c:v>
                </c:pt>
                <c:pt idx="53">
                  <c:v>0.0048038861951788065</c:v>
                </c:pt>
                <c:pt idx="54">
                  <c:v>0.004713201909925321</c:v>
                </c:pt>
                <c:pt idx="55">
                  <c:v>0.004592212620777686</c:v>
                </c:pt>
                <c:pt idx="56">
                  <c:v>0.00454125980224038</c:v>
                </c:pt>
                <c:pt idx="57">
                  <c:v>0.0041548758295094365</c:v>
                </c:pt>
                <c:pt idx="58">
                  <c:v>0.00411047317996568</c:v>
                </c:pt>
                <c:pt idx="59">
                  <c:v>0.0039513687904169205</c:v>
                </c:pt>
                <c:pt idx="60">
                  <c:v>0.003784930876342598</c:v>
                </c:pt>
                <c:pt idx="61">
                  <c:v>0.003645378328637811</c:v>
                </c:pt>
                <c:pt idx="62">
                  <c:v>0.0034505628347228324</c:v>
                </c:pt>
                <c:pt idx="63">
                  <c:v>0.0030805888339081877</c:v>
                </c:pt>
                <c:pt idx="64">
                  <c:v>0.0030408001968317286</c:v>
                </c:pt>
                <c:pt idx="65">
                  <c:v>0.00292081647505345</c:v>
                </c:pt>
                <c:pt idx="66">
                  <c:v>0.0027883314780490797</c:v>
                </c:pt>
                <c:pt idx="67">
                  <c:v>0.002686505210121266</c:v>
                </c:pt>
                <c:pt idx="68">
                  <c:v>0.0018707704110431944</c:v>
                </c:pt>
                <c:pt idx="69">
                  <c:v>0.0016533125913672784</c:v>
                </c:pt>
                <c:pt idx="70">
                  <c:v>0.001634415818027937</c:v>
                </c:pt>
                <c:pt idx="71">
                  <c:v>0.0015036062142032016</c:v>
                </c:pt>
                <c:pt idx="72">
                  <c:v>0.001493540625070272</c:v>
                </c:pt>
                <c:pt idx="73">
                  <c:v>0.0012945032276814954</c:v>
                </c:pt>
                <c:pt idx="74">
                  <c:v>0.0012298061811038777</c:v>
                </c:pt>
                <c:pt idx="75">
                  <c:v>0.0011527566049463317</c:v>
                </c:pt>
                <c:pt idx="76">
                  <c:v>0.0011226450321129044</c:v>
                </c:pt>
                <c:pt idx="77">
                  <c:v>0.0010845485913792145</c:v>
                </c:pt>
                <c:pt idx="78">
                  <c:v>0.00091672121526302</c:v>
                </c:pt>
                <c:pt idx="79">
                  <c:v>0.000717001918366276</c:v>
                </c:pt>
                <c:pt idx="80">
                  <c:v>0.0006200291913964137</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Sport Lotion FPS50+ 354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006C6D"/>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AEABAB"/>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7ECAC4"/>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AEABAB"/>
              </a:solidFill>
            </c:spPr>
            <c:extLst>
              <c:ext xmlns:c16="http://schemas.microsoft.com/office/drawing/2014/chart" uri="{C3380CC4-5D6E-409C-BE32-E72D297353CC}">
                <c16:uniqueId val="{00000029-999B-42C0-A7D9-A2057CE05A51}"/>
              </c:ext>
            </c:extLst>
          </c:dPt>
          <c:dPt>
            <c:idx val="21"/>
            <c:invertIfNegative val="1"/>
            <c:bubble3D val="0"/>
            <c:spPr>
              <a:solidFill>
                <a:srgbClr val="7ECAC4"/>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AEABAB"/>
              </a:solidFill>
            </c:spPr>
            <c:extLst>
              <c:ext xmlns:c16="http://schemas.microsoft.com/office/drawing/2014/chart" uri="{C3380CC4-5D6E-409C-BE32-E72D297353CC}">
                <c16:uniqueId val="{0000002F-999B-42C0-A7D9-A2057CE05A51}"/>
              </c:ext>
            </c:extLst>
          </c:dPt>
          <c:dPt>
            <c:idx val="24"/>
            <c:invertIfNegative val="1"/>
            <c:bubble3D val="0"/>
            <c:spPr>
              <a:solidFill>
                <a:srgbClr val="7ECAC4"/>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AEABAB"/>
              </a:solidFill>
            </c:spPr>
            <c:extLst>
              <c:ext xmlns:c16="http://schemas.microsoft.com/office/drawing/2014/chart" uri="{C3380CC4-5D6E-409C-BE32-E72D297353CC}">
                <c16:uniqueId val="{00000043-999B-42C0-A7D9-A2057CE05A51}"/>
              </c:ext>
            </c:extLst>
          </c:dPt>
          <c:dPt>
            <c:idx val="34"/>
            <c:invertIfNegative val="1"/>
            <c:bubble3D val="0"/>
            <c:spPr>
              <a:solidFill>
                <a:srgbClr val="7ECAC4"/>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AEABAB"/>
              </a:solidFill>
            </c:spPr>
            <c:extLst>
              <c:ext xmlns:c16="http://schemas.microsoft.com/office/drawing/2014/chart" uri="{C3380CC4-5D6E-409C-BE32-E72D297353CC}">
                <c16:uniqueId val="{00000049-999B-42C0-A7D9-A2057CE05A51}"/>
              </c:ext>
            </c:extLst>
          </c:dPt>
          <c:dPt>
            <c:idx val="37"/>
            <c:invertIfNegative val="1"/>
            <c:bubble3D val="0"/>
            <c:spPr>
              <a:solidFill>
                <a:srgbClr val="7ECAC4"/>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AEABAB"/>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7ECAC4"/>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7ECAC4"/>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AEABAB"/>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7ECAC4"/>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AEABAB"/>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7ECAC4"/>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r>
                      <a:rPr sz="500">
                        <a:solidFill>
                          <a:srgbClr val="006C6D"/>
                        </a:solidFill>
                      </a:rPr>
                      <a:t>Banana Boat Sport Lotion FPS50+ 354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Banana Boat Sport Lotion FPS50+ 354ml</c:v>
                </c:pt>
                <c:pt idx="11">
                  <c:v>Nivea Sun Babies &amp; Kids Lotion FPS50+ 200ml</c:v>
                </c:pt>
                <c:pt idx="12">
                  <c:v>Nivea Sun Protect &amp; Refresh Sport Spray FPS50 200ml</c:v>
                </c:pt>
                <c:pt idx="13">
                  <c:v>Equate Sport Lotion FPS30 237ml</c:v>
                </c:pt>
                <c:pt idx="14">
                  <c:v>Banana Boat Aqua Protect Kids Cream FPS50+ 236ml</c:v>
                </c:pt>
                <c:pt idx="15">
                  <c:v>Equate Ultra Spray FPS50 156g</c:v>
                </c:pt>
                <c:pt idx="16">
                  <c:v>Hawaiian Tropic Sheer Touch Lotion FPS30 240ml</c:v>
                </c:pt>
                <c:pt idx="17">
                  <c:v>Nivea Sun Protect &amp; Refresh Sport Invisible Spray FPS50 200ml</c:v>
                </c:pt>
                <c:pt idx="18">
                  <c:v>Nivea Sun Face Shine Control FPS50+ 50ml</c:v>
                </c:pt>
                <c:pt idx="19">
                  <c:v>Nivea Sun Kids Swim &amp; Play Gel FPS50+ 150ml</c:v>
                </c:pt>
                <c:pt idx="20">
                  <c:v>Neutrogena Sun Fresh Cream FPS50 200ml</c:v>
                </c:pt>
                <c:pt idx="21">
                  <c:v>Hawaiian Tropic Sheer Touch Lotion FPS50 120ml</c:v>
                </c:pt>
                <c:pt idx="22">
                  <c:v>Equate Kids Lotion FPS50 237ml</c:v>
                </c:pt>
                <c:pt idx="23">
                  <c:v>Caribbean Beach Sport Cream FPS50+ 250g</c:v>
                </c:pt>
                <c:pt idx="24">
                  <c:v>Banana Boat Dry Balance Sport Spray FPS50 170ml</c:v>
                </c:pt>
                <c:pt idx="25">
                  <c:v>La Roche Posay Anthelios Uvmune 400 Fluid FPS50+ 50ml</c:v>
                </c:pt>
                <c:pt idx="26">
                  <c:v>Caribbean Beach Ultra Cream FPS50+ 250g</c:v>
                </c:pt>
                <c:pt idx="27">
                  <c:v>Nivea Sun Face Sensitive Skin FPS50 50ml</c:v>
                </c:pt>
                <c:pt idx="28">
                  <c:v>Eucerin Gel-Cream FPS50+ 5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Hawaiian Tropic Ozono Lotion FPS50+ 120ml</c:v>
                </c:pt>
                <c:pt idx="38">
                  <c:v>Caribbean Beach Kids Cream FPS50+ 250g</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Nuvel Suncare Kids Protection FPS50 120ml</c:v>
                </c:pt>
                <c:pt idx="55">
                  <c:v>Banana Boat Dry Balance Sport Lotion FPS50+ 18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269984018875735</c:v>
                </c:pt>
                <c:pt idx="1">
                  <c:v>0.056449482486490773</c:v>
                </c:pt>
                <c:pt idx="2">
                  <c:v>0.05001530293325195</c:v>
                </c:pt>
                <c:pt idx="3">
                  <c:v>0.044596119706893395</c:v>
                </c:pt>
                <c:pt idx="4">
                  <c:v>0.04199901563918774</c:v>
                </c:pt>
                <c:pt idx="5">
                  <c:v>0.041628090785178186</c:v>
                </c:pt>
                <c:pt idx="6">
                  <c:v>0.033835253014128194</c:v>
                </c:pt>
                <c:pt idx="7">
                  <c:v>0.030087385348096067</c:v>
                </c:pt>
                <c:pt idx="8">
                  <c:v>0.02666405130619031</c:v>
                </c:pt>
                <c:pt idx="9">
                  <c:v>0.02606905031881112</c:v>
                </c:pt>
                <c:pt idx="10">
                  <c:v>0.02467239127205923</c:v>
                </c:pt>
                <c:pt idx="11">
                  <c:v>0.02229684404276236</c:v>
                </c:pt>
                <c:pt idx="12">
                  <c:v>0.022039134068523144</c:v>
                </c:pt>
                <c:pt idx="13">
                  <c:v>0.019742445040568886</c:v>
                </c:pt>
                <c:pt idx="14">
                  <c:v>0.01869115816931867</c:v>
                </c:pt>
                <c:pt idx="15">
                  <c:v>0.01709208343758809</c:v>
                </c:pt>
                <c:pt idx="16">
                  <c:v>0.016804268946845145</c:v>
                </c:pt>
                <c:pt idx="17">
                  <c:v>0.016752611681029636</c:v>
                </c:pt>
                <c:pt idx="18">
                  <c:v>0.015143907954257243</c:v>
                </c:pt>
                <c:pt idx="19">
                  <c:v>0.014665193556296252</c:v>
                </c:pt>
                <c:pt idx="20">
                  <c:v>0.014421374710274076</c:v>
                </c:pt>
                <c:pt idx="21">
                  <c:v>0.013872107707212113</c:v>
                </c:pt>
                <c:pt idx="22">
                  <c:v>0.013201571665816716</c:v>
                </c:pt>
                <c:pt idx="23">
                  <c:v>0.012232441081151166</c:v>
                </c:pt>
                <c:pt idx="24">
                  <c:v>0.011930564198093846</c:v>
                </c:pt>
                <c:pt idx="25">
                  <c:v>0.011884955322745985</c:v>
                </c:pt>
                <c:pt idx="26">
                  <c:v>0.011807961965148326</c:v>
                </c:pt>
                <c:pt idx="27">
                  <c:v>0.011673217256707438</c:v>
                </c:pt>
                <c:pt idx="28">
                  <c:v>0.010789409535668313</c:v>
                </c:pt>
                <c:pt idx="29">
                  <c:v>0.010394219307109313</c:v>
                </c:pt>
                <c:pt idx="30">
                  <c:v>0.01022890584517765</c:v>
                </c:pt>
                <c:pt idx="31">
                  <c:v>0.00980704574372002</c:v>
                </c:pt>
                <c:pt idx="32">
                  <c:v>0.009736475772790814</c:v>
                </c:pt>
                <c:pt idx="33">
                  <c:v>0.009582427883146841</c:v>
                </c:pt>
                <c:pt idx="34">
                  <c:v>0.009375250142659969</c:v>
                </c:pt>
                <c:pt idx="35">
                  <c:v>0.009222986818575227</c:v>
                </c:pt>
                <c:pt idx="36">
                  <c:v>0.009166697574331936</c:v>
                </c:pt>
                <c:pt idx="37">
                  <c:v>0.009135403712456835</c:v>
                </c:pt>
                <c:pt idx="38">
                  <c:v>0.009035726783173055</c:v>
                </c:pt>
                <c:pt idx="39">
                  <c:v>0.007466870968727109</c:v>
                </c:pt>
                <c:pt idx="40">
                  <c:v>0.007164123805971043</c:v>
                </c:pt>
                <c:pt idx="41">
                  <c:v>0.006938515103801804</c:v>
                </c:pt>
                <c:pt idx="42">
                  <c:v>0.006905148519005469</c:v>
                </c:pt>
                <c:pt idx="43">
                  <c:v>0.006806696910201598</c:v>
                </c:pt>
                <c:pt idx="44">
                  <c:v>0.006577930989031465</c:v>
                </c:pt>
                <c:pt idx="45">
                  <c:v>0.006475481943612669</c:v>
                </c:pt>
                <c:pt idx="46">
                  <c:v>0.006368308963912966</c:v>
                </c:pt>
                <c:pt idx="47">
                  <c:v>0.006041722775962426</c:v>
                </c:pt>
                <c:pt idx="48">
                  <c:v>0.0059902186859379335</c:v>
                </c:pt>
                <c:pt idx="49">
                  <c:v>0.005470563379239382</c:v>
                </c:pt>
                <c:pt idx="50">
                  <c:v>0.005150560641756565</c:v>
                </c:pt>
                <c:pt idx="51">
                  <c:v>0.005142886049020889</c:v>
                </c:pt>
                <c:pt idx="52">
                  <c:v>0.004943962433180189</c:v>
                </c:pt>
                <c:pt idx="53">
                  <c:v>0.004740441120683296</c:v>
                </c:pt>
                <c:pt idx="54">
                  <c:v>0.004632733211457658</c:v>
                </c:pt>
                <c:pt idx="55">
                  <c:v>0.004623491493004151</c:v>
                </c:pt>
                <c:pt idx="56">
                  <c:v>0.004543112602586959</c:v>
                </c:pt>
                <c:pt idx="57">
                  <c:v>0.004457471568785463</c:v>
                </c:pt>
                <c:pt idx="58">
                  <c:v>0.00404895020885818</c:v>
                </c:pt>
                <c:pt idx="59">
                  <c:v>0.004041998358517969</c:v>
                </c:pt>
                <c:pt idx="60">
                  <c:v>0.0038658957594636272</c:v>
                </c:pt>
                <c:pt idx="61">
                  <c:v>0.003756702220598669</c:v>
                </c:pt>
                <c:pt idx="62">
                  <c:v>0.0035885639883517046</c:v>
                </c:pt>
                <c:pt idx="63">
                  <c:v>0.0033707933959303523</c:v>
                </c:pt>
                <c:pt idx="64">
                  <c:v>0.0030100891516625667</c:v>
                </c:pt>
                <c:pt idx="65">
                  <c:v>0.0029899635550796858</c:v>
                </c:pt>
                <c:pt idx="66">
                  <c:v>0.0027640674475776675</c:v>
                </c:pt>
                <c:pt idx="67">
                  <c:v>0.0026720479592200917</c:v>
                </c:pt>
                <c:pt idx="68">
                  <c:v>0.001853669437480178</c:v>
                </c:pt>
                <c:pt idx="69">
                  <c:v>0.0016406805325878157</c:v>
                </c:pt>
                <c:pt idx="70">
                  <c:v>0.0015940662231565294</c:v>
                </c:pt>
                <c:pt idx="71">
                  <c:v>0.0014680051711270167</c:v>
                </c:pt>
                <c:pt idx="72">
                  <c:v>0.0014572821830595856</c:v>
                </c:pt>
                <c:pt idx="73">
                  <c:v>0.0012737411125426708</c:v>
                </c:pt>
                <c:pt idx="74">
                  <c:v>0.0011753951796479023</c:v>
                </c:pt>
                <c:pt idx="75">
                  <c:v>0.0011323023952721036</c:v>
                </c:pt>
                <c:pt idx="76">
                  <c:v>0.0011141134461820055</c:v>
                </c:pt>
                <c:pt idx="77">
                  <c:v>0.0010777552264477964</c:v>
                </c:pt>
                <c:pt idx="78">
                  <c:v>0.000909157839276318</c:v>
                </c:pt>
                <c:pt idx="79">
                  <c:v>0.0007026954182597016</c:v>
                </c:pt>
                <c:pt idx="80">
                  <c:v>0.0006094497016273434</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C$2:$C$2</c:f>
              <c:numCache>
                <c:formatCode>General</c:formatCode>
                <c:ptCount val="1"/>
                <c:pt idx="0">
                  <c:v>101.24622058574883</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Advanced Protection Lotion FPS50+ 360ml @370</c:v>
                </c:pt>
              </c:strCache>
            </c:strRef>
          </c:cat>
          <c:val>
            <c:numRef>
              <c:f>Sheet1!$D$2:$D$2</c:f>
              <c:numCache>
                <c:formatCode>General</c:formatCode>
                <c:ptCount val="1"/>
                <c:pt idx="0">
                  <c:v>105.9039401787603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C$2:$C$2</c:f>
              <c:numCache>
                <c:formatCode>General</c:formatCode>
                <c:ptCount val="1"/>
                <c:pt idx="0">
                  <c:v>100.4577509582582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Baby Lotion FPS50+ 177ml @300</c:v>
                </c:pt>
              </c:strCache>
            </c:strRef>
          </c:cat>
          <c:val>
            <c:numRef>
              <c:f>Sheet1!$D$2:$D$2</c:f>
              <c:numCache>
                <c:formatCode>General</c:formatCode>
                <c:ptCount val="1"/>
                <c:pt idx="0">
                  <c:v>101.4924707899547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Baby Lotion FPS50+ 177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006C6D"/>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r>
                      <a:rPr sz="500">
                        <a:solidFill>
                          <a:srgbClr val="006C6D"/>
                        </a:solidFill>
                      </a:rPr>
                      <a:t>Banana Boat Baby Lotion FPS50+ 177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L'Oréal Paris UV DEFENDER Colored Fluid FPS50+ 40g</c:v>
                </c:pt>
                <c:pt idx="37">
                  <c:v>Caribbean Beach Kids Cream FPS50+ 25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anana Boat Baby Lotion FPS50+ 177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085508411757</c:v>
                </c:pt>
                <c:pt idx="1">
                  <c:v>0.05763996906794333</c:v>
                </c:pt>
                <c:pt idx="2">
                  <c:v>0.051000615378498156</c:v>
                </c:pt>
                <c:pt idx="3">
                  <c:v>0.045273326131780874</c:v>
                </c:pt>
                <c:pt idx="4">
                  <c:v>0.043494692772345606</c:v>
                </c:pt>
                <c:pt idx="5">
                  <c:v>0.043474715605351356</c:v>
                </c:pt>
                <c:pt idx="6">
                  <c:v>0.03557817449576799</c:v>
                </c:pt>
                <c:pt idx="7">
                  <c:v>0.031059094893957202</c:v>
                </c:pt>
                <c:pt idx="8">
                  <c:v>0.027905250970895003</c:v>
                </c:pt>
                <c:pt idx="9">
                  <c:v>0.027153428110153546</c:v>
                </c:pt>
                <c:pt idx="10">
                  <c:v>0.02267849212444642</c:v>
                </c:pt>
                <c:pt idx="11">
                  <c:v>0.02261341455917641</c:v>
                </c:pt>
                <c:pt idx="12">
                  <c:v>0.020316114545521614</c:v>
                </c:pt>
                <c:pt idx="13">
                  <c:v>0.019373847542933736</c:v>
                </c:pt>
                <c:pt idx="14">
                  <c:v>0.017286940176302758</c:v>
                </c:pt>
                <c:pt idx="15">
                  <c:v>0.017271736120733888</c:v>
                </c:pt>
                <c:pt idx="16">
                  <c:v>0.017116743234729854</c:v>
                </c:pt>
                <c:pt idx="17">
                  <c:v>0.01529835851736492</c:v>
                </c:pt>
                <c:pt idx="18">
                  <c:v>0.014801521425163269</c:v>
                </c:pt>
                <c:pt idx="19">
                  <c:v>0.014650360922698861</c:v>
                </c:pt>
                <c:pt idx="20">
                  <c:v>0.014066913487108954</c:v>
                </c:pt>
                <c:pt idx="21">
                  <c:v>0.013493209208865172</c:v>
                </c:pt>
                <c:pt idx="22">
                  <c:v>0.012439889521435639</c:v>
                </c:pt>
                <c:pt idx="23">
                  <c:v>0.012185881715365585</c:v>
                </c:pt>
                <c:pt idx="24">
                  <c:v>0.0120086565676055</c:v>
                </c:pt>
                <c:pt idx="25">
                  <c:v>0.01197785645337366</c:v>
                </c:pt>
                <c:pt idx="26">
                  <c:v>0.011767431579766674</c:v>
                </c:pt>
                <c:pt idx="27">
                  <c:v>0.010842487591841796</c:v>
                </c:pt>
                <c:pt idx="28">
                  <c:v>0.010552572782383229</c:v>
                </c:pt>
                <c:pt idx="29">
                  <c:v>0.010355578213006558</c:v>
                </c:pt>
                <c:pt idx="30">
                  <c:v>0.009888877214551417</c:v>
                </c:pt>
                <c:pt idx="31">
                  <c:v>0.009888477036977263</c:v>
                </c:pt>
                <c:pt idx="32">
                  <c:v>0.009717569476453592</c:v>
                </c:pt>
                <c:pt idx="33">
                  <c:v>0.009611365129186516</c:v>
                </c:pt>
                <c:pt idx="34">
                  <c:v>0.00929065106198685</c:v>
                </c:pt>
                <c:pt idx="35">
                  <c:v>0.009255867073652809</c:v>
                </c:pt>
                <c:pt idx="36">
                  <c:v>0.009249862896442855</c:v>
                </c:pt>
                <c:pt idx="37">
                  <c:v>0.009238851456546697</c:v>
                </c:pt>
                <c:pt idx="38">
                  <c:v>0.0075606504333246205</c:v>
                </c:pt>
                <c:pt idx="39">
                  <c:v>0.007233593454497867</c:v>
                </c:pt>
                <c:pt idx="40">
                  <c:v>0.007029759462803376</c:v>
                </c:pt>
                <c:pt idx="41">
                  <c:v>0.006938738152334052</c:v>
                </c:pt>
                <c:pt idx="42">
                  <c:v>0.0068338375734844185</c:v>
                </c:pt>
                <c:pt idx="43">
                  <c:v>0.006648490172743341</c:v>
                </c:pt>
                <c:pt idx="44">
                  <c:v>0.006571207532944538</c:v>
                </c:pt>
                <c:pt idx="45">
                  <c:v>0.006500676740401046</c:v>
                </c:pt>
                <c:pt idx="46">
                  <c:v>0.0061233730804125235</c:v>
                </c:pt>
                <c:pt idx="47">
                  <c:v>0.006058284056331388</c:v>
                </c:pt>
                <c:pt idx="48">
                  <c:v>0.005560624670189376</c:v>
                </c:pt>
                <c:pt idx="49">
                  <c:v>0.005272356980314226</c:v>
                </c:pt>
                <c:pt idx="50">
                  <c:v>0.005225106486385829</c:v>
                </c:pt>
                <c:pt idx="51">
                  <c:v>0.005034135522129482</c:v>
                </c:pt>
                <c:pt idx="52">
                  <c:v>0.004826028338248314</c:v>
                </c:pt>
                <c:pt idx="53">
                  <c:v>0.004798208402255326</c:v>
                </c:pt>
                <c:pt idx="54">
                  <c:v>0.004713112318917107</c:v>
                </c:pt>
                <c:pt idx="55">
                  <c:v>0.0046034705732240985</c:v>
                </c:pt>
                <c:pt idx="56">
                  <c:v>0.004539092129171909</c:v>
                </c:pt>
                <c:pt idx="57">
                  <c:v>0.004149626395624849</c:v>
                </c:pt>
                <c:pt idx="58">
                  <c:v>0.004102677183655373</c:v>
                </c:pt>
                <c:pt idx="59">
                  <c:v>0.003949755075935911</c:v>
                </c:pt>
                <c:pt idx="60">
                  <c:v>0.003783168225962141</c:v>
                </c:pt>
                <c:pt idx="61">
                  <c:v>0.003644993786181732</c:v>
                </c:pt>
                <c:pt idx="62">
                  <c:v>0.0034535675118202154</c:v>
                </c:pt>
                <c:pt idx="63">
                  <c:v>0.0030838852668787346</c:v>
                </c:pt>
                <c:pt idx="64">
                  <c:v>0.0030472938690694015</c:v>
                </c:pt>
                <c:pt idx="65">
                  <c:v>0.0027887299606089394</c:v>
                </c:pt>
                <c:pt idx="66">
                  <c:v>0.002690695168671232</c:v>
                </c:pt>
                <c:pt idx="67">
                  <c:v>0.0026519066663750522</c:v>
                </c:pt>
                <c:pt idx="68">
                  <c:v>0.001869818685526901</c:v>
                </c:pt>
                <c:pt idx="69">
                  <c:v>0.0016551979711727858</c:v>
                </c:pt>
                <c:pt idx="70">
                  <c:v>0.0016346886202683304</c:v>
                </c:pt>
                <c:pt idx="71">
                  <c:v>0.0015039918137161987</c:v>
                </c:pt>
                <c:pt idx="72">
                  <c:v>0.0014973258660141917</c:v>
                </c:pt>
                <c:pt idx="73">
                  <c:v>0.001294871315823268</c:v>
                </c:pt>
                <c:pt idx="74">
                  <c:v>0.0012308330493843503</c:v>
                </c:pt>
                <c:pt idx="75">
                  <c:v>0.0011542982328136822</c:v>
                </c:pt>
                <c:pt idx="76">
                  <c:v>0.0011232326621813254</c:v>
                </c:pt>
                <c:pt idx="77">
                  <c:v>0.0010848396897445033</c:v>
                </c:pt>
                <c:pt idx="78">
                  <c:v>0.0009200036301615089</c:v>
                </c:pt>
                <c:pt idx="79">
                  <c:v>0.0007160906234518859</c:v>
                </c:pt>
                <c:pt idx="80">
                  <c:v>0.0006181125024116784</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eautycare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B$2:$B$5</c:f>
              <c:numCache>
                <c:formatCode>General</c:formatCode>
                <c:ptCount val="4"/>
                <c:pt idx="0">
                  <c:v>99</c:v>
                </c:pt>
                <c:pt idx="1">
                  <c:v>99</c:v>
                </c:pt>
                <c:pt idx="2">
                  <c:v>99</c:v>
                </c:pt>
                <c:pt idx="3">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eautycare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C$2:$C$5</c:f>
              <c:numCache>
                <c:formatCode>General</c:formatCode>
                <c:ptCount val="4"/>
                <c:pt idx="0">
                  <c:v>103.12721487355863</c:v>
                </c:pt>
                <c:pt idx="1">
                  <c:v>101.20300446320942</c:v>
                </c:pt>
                <c:pt idx="2">
                  <c:v>101.31104929857378</c:v>
                </c:pt>
                <c:pt idx="3">
                  <c:v>110.57443025410765</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eautycare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utycare Glow Stick FPS50 20g @345</c:v>
                </c:pt>
                <c:pt idx="1">
                  <c:v>Beautycare Glow Serum FPS50 30ml @350</c:v>
                </c:pt>
                <c:pt idx="2">
                  <c:v>Beautycare Pro Age Color Face Fluid FPS50+ 50ml @305</c:v>
                </c:pt>
                <c:pt idx="3">
                  <c:v>Beautycare Glow Lip Oil FPS50+ 10g @205</c:v>
                </c:pt>
              </c:strCache>
            </c:strRef>
          </c:cat>
          <c:val>
            <c:numRef>
              <c:f>Sheet1!$D$2:$D$5</c:f>
              <c:numCache>
                <c:formatCode>General</c:formatCode>
                <c:ptCount val="4"/>
                <c:pt idx="0">
                  <c:v>212.53536054399723</c:v>
                </c:pt>
                <c:pt idx="1">
                  <c:v>146.89964389334978</c:v>
                </c:pt>
                <c:pt idx="2">
                  <c:v>121.80832831678146</c:v>
                </c:pt>
                <c:pt idx="3">
                  <c:v>325.81391223252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B$2:$B$2</c:f>
              <c:numCache>
                <c:formatCode>General</c:formatCode>
                <c:ptCount val="1"/>
                <c:pt idx="0">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C$2:$C$2</c:f>
              <c:numCache>
                <c:formatCode>General</c:formatCode>
                <c:ptCount val="1"/>
                <c:pt idx="0">
                  <c:v>100.60368704280944</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Banana Boat Kids Sport Spray FPS50+ 240ml @360</c:v>
                </c:pt>
              </c:strCache>
            </c:strRef>
          </c:cat>
          <c:val>
            <c:numRef>
              <c:f>Sheet1!$D$2:$D$2</c:f>
              <c:numCache>
                <c:formatCode>General</c:formatCode>
                <c:ptCount val="1"/>
                <c:pt idx="0">
                  <c:v>102.83951308129215</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B$2:$B$4</c:f>
              <c:numCache>
                <c:formatCode>General</c:formatCode>
                <c:ptCount val="3"/>
                <c:pt idx="0">
                  <c:v>99</c:v>
                </c:pt>
                <c:pt idx="1">
                  <c:v>99</c:v>
                </c:pt>
                <c:pt idx="2">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C$2:$C$4</c:f>
              <c:numCache>
                <c:formatCode>General</c:formatCode>
                <c:ptCount val="3"/>
                <c:pt idx="0">
                  <c:v>100.81710210194628</c:v>
                </c:pt>
                <c:pt idx="1">
                  <c:v>109.9117608679143</c:v>
                </c:pt>
                <c:pt idx="2">
                  <c:v>100.74620815871316</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Ozono Lotion FPS50+ 300ml @395</c:v>
                </c:pt>
                <c:pt idx="1">
                  <c:v>Hawaiian Tropic Ozono Stick FPS50+ 42g @240</c:v>
                </c:pt>
                <c:pt idx="2">
                  <c:v>Hawaiian Tropic Ozono Ultra-Light FPS50+ 140ml @275</c:v>
                </c:pt>
              </c:strCache>
            </c:strRef>
          </c:cat>
          <c:val>
            <c:numRef>
              <c:f>Sheet1!$D$2:$D$4</c:f>
              <c:numCache>
                <c:formatCode>General</c:formatCode>
                <c:ptCount val="3"/>
                <c:pt idx="0">
                  <c:v>102.02209818573913</c:v>
                </c:pt>
                <c:pt idx="1">
                  <c:v>114.9119920912031</c:v>
                </c:pt>
                <c:pt idx="2">
                  <c:v>100.4490342152911</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Hawaiian Tropic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B$2:$B$4</c:f>
              <c:numCache>
                <c:formatCode>General</c:formatCode>
                <c:ptCount val="3"/>
                <c:pt idx="0">
                  <c:v>99</c:v>
                </c:pt>
                <c:pt idx="1">
                  <c:v>99</c:v>
                </c:pt>
                <c:pt idx="2">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Hawaiian Tropic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C$2:$C$4</c:f>
              <c:numCache>
                <c:formatCode>General</c:formatCode>
                <c:ptCount val="3"/>
                <c:pt idx="0">
                  <c:v>101.02849013697634</c:v>
                </c:pt>
                <c:pt idx="1">
                  <c:v>110.72750410082861</c:v>
                </c:pt>
                <c:pt idx="2">
                  <c:v>100.69645844564168</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Hawaiian Tropic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awaiian Tropic Silk Hydration Serum FPS50 100ml @225</c:v>
                </c:pt>
                <c:pt idx="1">
                  <c:v>Hawaiian Tropic Silk Hydration Lip balm FPS30 10g @140</c:v>
                </c:pt>
                <c:pt idx="2">
                  <c:v>Hawaiian Tropic Silk Hydration Glow Mist FPS50+ 100ml @240</c:v>
                </c:pt>
              </c:strCache>
            </c:strRef>
          </c:cat>
          <c:val>
            <c:numRef>
              <c:f>Sheet1!$D$2:$D$4</c:f>
              <c:numCache>
                <c:formatCode>General</c:formatCode>
                <c:ptCount val="3"/>
                <c:pt idx="0">
                  <c:v>101.33537758851678</c:v>
                </c:pt>
                <c:pt idx="1">
                  <c:v>108.91485629565763</c:v>
                </c:pt>
                <c:pt idx="2">
                  <c:v>100.58254549235086</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394200792521906E-4"/>
          <c:y val="0.20622021774250399"/>
          <c:w val="1"/>
          <c:h val="0.56327256970466644"/>
        </c:manualLayout>
      </c:layout>
      <c:barChart>
        <c:barDir val="col"/>
        <c:grouping val="clustered"/>
        <c:varyColors val="0"/>
        <c:ser>
          <c:idx val="0"/>
          <c:order val="0"/>
          <c:tx>
            <c:strRef>
              <c:f>Sheet1!$B$1</c:f>
              <c:strCache>
                <c:ptCount val="1"/>
                <c:pt idx="0">
                  <c:v>Banana Boat Share Index</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B$2:$B$5</c:f>
              <c:numCache>
                <c:formatCode>General</c:formatCode>
                <c:ptCount val="4"/>
                <c:pt idx="0">
                  <c:v>99</c:v>
                </c:pt>
                <c:pt idx="1">
                  <c:v>99</c:v>
                </c:pt>
                <c:pt idx="2">
                  <c:v>99</c:v>
                </c:pt>
                <c:pt idx="3">
                  <c:v>99</c:v>
                </c:pt>
              </c:numCache>
            </c:numRef>
          </c:val>
          <c:extLst>
            <c:ext xmlns:c16="http://schemas.microsoft.com/office/drawing/2014/chart" uri="{C3380CC4-5D6E-409C-BE32-E72D297353CC}">
              <c16:uniqueId val="{00000000-D080-41A7-8C04-868D2B1CA00A}"/>
            </c:ext>
          </c:extLst>
        </c:ser>
        <c:ser>
          <c:idx val="1"/>
          <c:order val="1"/>
          <c:tx>
            <c:strRef>
              <c:f>Sheet1!$C$1</c:f>
              <c:strCache>
                <c:ptCount val="1"/>
                <c:pt idx="0">
                  <c:v>Banana Boat Value Index</c:v>
                </c:pt>
              </c:strCache>
            </c:strRef>
          </c:tx>
          <c:spPr>
            <a:solidFill>
              <a:srgbClr val="AEABA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C$2:$C$5</c:f>
              <c:numCache>
                <c:formatCode>General</c:formatCode>
                <c:ptCount val="4"/>
                <c:pt idx="0">
                  <c:v>100.59021347440658</c:v>
                </c:pt>
                <c:pt idx="1">
                  <c:v>101.73401161270806</c:v>
                </c:pt>
                <c:pt idx="2">
                  <c:v>100.37683361649556</c:v>
                </c:pt>
                <c:pt idx="3">
                  <c:v>101.25305141251731</c:v>
                </c:pt>
              </c:numCache>
            </c:numRef>
          </c:val>
          <c:extLst>
            <c:ext xmlns:c16="http://schemas.microsoft.com/office/drawing/2014/chart" uri="{C3380CC4-5D6E-409C-BE32-E72D297353CC}">
              <c16:uniqueId val="{00000002-D080-41A7-8C04-868D2B1CA00A}"/>
            </c:ext>
          </c:extLst>
        </c:ser>
        <c:ser>
          <c:idx val="2"/>
          <c:order val="2"/>
          <c:tx>
            <c:strRef>
              <c:f>Sheet1!$D$1</c:f>
              <c:strCache>
                <c:ptCount val="1"/>
                <c:pt idx="0">
                  <c:v>Banana Boat Gross Profit Index</c:v>
                </c:pt>
              </c:strCache>
            </c:strRef>
          </c:tx>
          <c:spPr>
            <a:solidFill>
              <a:schemeClr val="bg2">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Nexa Book" panose="00000400000000000000" pitchFamily="2" charset="0"/>
                    <a:ea typeface="Open Sans" panose="020B0604020202020204" charset="0"/>
                    <a:cs typeface="Open Sans" panose="020B0604020202020204" charset="0"/>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ana Boat Aqua Protect Sport Spray FPS50+ 240ml @360</c:v>
                </c:pt>
                <c:pt idx="1">
                  <c:v>Banana Boat Dry Balance Sport Stick FPS50+ 40g @290</c:v>
                </c:pt>
                <c:pt idx="2">
                  <c:v>Banana Boat Dry Balance Sport Aerosol FPS50+ 200ml @365</c:v>
                </c:pt>
                <c:pt idx="3">
                  <c:v>Banana Boat Sport Lotion FPS50+ 354ml @370</c:v>
                </c:pt>
              </c:strCache>
            </c:strRef>
          </c:cat>
          <c:val>
            <c:numRef>
              <c:f>Sheet1!$D$2:$D$5</c:f>
              <c:numCache>
                <c:formatCode>General</c:formatCode>
                <c:ptCount val="4"/>
                <c:pt idx="0">
                  <c:v>102.79260473818215</c:v>
                </c:pt>
                <c:pt idx="1">
                  <c:v>105.45822260665823</c:v>
                </c:pt>
                <c:pt idx="2">
                  <c:v>101.93220378382645</c:v>
                </c:pt>
                <c:pt idx="3">
                  <c:v>105.15610316435632</c:v>
                </c:pt>
              </c:numCache>
            </c:numRef>
          </c:val>
          <c:extLst>
            <c:ext xmlns:c16="http://schemas.microsoft.com/office/drawing/2014/chart" uri="{C3380CC4-5D6E-409C-BE32-E72D297353CC}">
              <c16:uniqueId val="{00000001-411D-427A-A52A-9AF5CF5FA7C2}"/>
            </c:ext>
          </c:extLst>
        </c:ser>
        <c:dLbls>
          <c:dLblPos val="inEnd"/>
          <c:showLegendKey val="0"/>
          <c:showVal val="1"/>
          <c:showCatName val="0"/>
          <c:showSerName val="0"/>
          <c:showPercent val="0"/>
          <c:showBubbleSize val="0"/>
        </c:dLbls>
        <c:gapWidth val="50"/>
        <c:axId val="2065605344"/>
        <c:axId val="2065599520"/>
      </c:barChart>
      <c:catAx>
        <c:axId val="2065605344"/>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2"/>
                </a:solidFill>
                <a:latin typeface="Nexa Bold" panose="00000800000000000000" pitchFamily="2" charset="0"/>
                <a:ea typeface="Open Sans" panose="020B0604020202020204" charset="0"/>
                <a:cs typeface="Open Sans" panose="020B0604020202020204" charset="0"/>
              </a:defRPr>
            </a:pPr>
            <a:endParaRPr lang="en-CH"/>
          </a:p>
        </c:txPr>
        <c:crossAx val="2065599520"/>
        <c:crosses val="autoZero"/>
        <c:auto val="1"/>
        <c:lblAlgn val="ctr"/>
        <c:lblOffset val="100"/>
        <c:noMultiLvlLbl val="0"/>
      </c:catAx>
      <c:valAx>
        <c:axId val="2065599520"/>
        <c:scaling>
          <c:orientation val="minMax"/>
        </c:scaling>
        <c:delete val="1"/>
        <c:axPos val="l"/>
        <c:numFmt formatCode="General" sourceLinked="1"/>
        <c:majorTickMark val="out"/>
        <c:minorTickMark val="none"/>
        <c:tickLblPos val="nextTo"/>
        <c:crossAx val="2065605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Nexa Book" panose="00000400000000000000" pitchFamily="2" charset="0"/>
              <a:ea typeface="Open Sans" panose="020B0604020202020204" charset="0"/>
              <a:cs typeface="Open Sans" panose="020B0604020202020204" charset="0"/>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latin typeface="Open Sans" panose="020B0604020202020204" charset="0"/>
          <a:ea typeface="Open Sans" panose="020B0604020202020204" charset="0"/>
          <a:cs typeface="Open Sans" panose="020B0604020202020204" charset="0"/>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Advanced Protection Lotion FPS50+ 36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Hawaiian Tropic Island Sport Lotion FPS50 240ml</c:v>
                </c:pt>
                <c:pt idx="1">
                  <c:v>Hawaiian Tropic Sheer Touch Lotion FPS50+ 240ml</c:v>
                </c:pt>
                <c:pt idx="2">
                  <c:v>Nivea Sun Protection &amp; Hydration Cream FPS50+ 200ml</c:v>
                </c:pt>
                <c:pt idx="3">
                  <c:v>Hawaiian Tropic Ozono Lotion FPS50+ 240ml</c:v>
                </c:pt>
                <c:pt idx="4">
                  <c:v>Banana Boat Advanced Protection Lotion FPS50+ 240ml</c:v>
                </c:pt>
                <c:pt idx="5">
                  <c:v>Nivea Sun Protect &amp; Refresh Sport Lotion FPS50 200ml</c:v>
                </c:pt>
                <c:pt idx="6">
                  <c:v>Nivea Sun Protection Sensitive Skin Gel FPS50+ 200ml</c:v>
                </c:pt>
                <c:pt idx="7">
                  <c:v>Banana Boat Aqua Protect Cream FPS50+ 236ml</c:v>
                </c:pt>
                <c:pt idx="8">
                  <c:v>Banana Boat Aqua Protect Sport Lotion FPS50+ 236ml</c:v>
                </c:pt>
                <c:pt idx="9">
                  <c:v>Nivea Sun Protect &amp; Refresh Sport Spray FPS50 200ml</c:v>
                </c:pt>
                <c:pt idx="10">
                  <c:v>Nivea Sun Protection &amp; Hydration Lotion FPS50+ 125ml</c:v>
                </c:pt>
              </c:strCache>
            </c:strRef>
          </c:cat>
          <c:val>
            <c:numRef>
              <c:f>Sheet1!$B$2:$B$12</c:f>
              <c:numCache>
                <c:formatCode>General</c:formatCode>
                <c:ptCount val="11"/>
                <c:pt idx="0">
                  <c:v>0.0853898811467458</c:v>
                </c:pt>
                <c:pt idx="1">
                  <c:v>0.07938308253176522</c:v>
                </c:pt>
                <c:pt idx="2">
                  <c:v>0.0757448758735848</c:v>
                </c:pt>
                <c:pt idx="3">
                  <c:v>0.0625229411774906</c:v>
                </c:pt>
                <c:pt idx="4">
                  <c:v>0.052141079316675575</c:v>
                </c:pt>
                <c:pt idx="5">
                  <c:v>0.05152956365460794</c:v>
                </c:pt>
                <c:pt idx="6">
                  <c:v>0.05048703835067146</c:v>
                </c:pt>
                <c:pt idx="7">
                  <c:v>0.04693172603738094</c:v>
                </c:pt>
                <c:pt idx="8">
                  <c:v>0.03671834112595821</c:v>
                </c:pt>
                <c:pt idx="9">
                  <c:v>0.0281036133505292</c:v>
                </c:pt>
                <c:pt idx="10">
                  <c:v>0.0266814441356485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Baby Lotion FPS50+ 177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Banana Boat Aqua Protect Sport Lotion FPS50+ 236ml</c:v>
                </c:pt>
                <c:pt idx="3">
                  <c:v>Hawaiian Tropic Ozono Lotion FPS50+ 240ml</c:v>
                </c:pt>
                <c:pt idx="4">
                  <c:v>Nivea Sun Protection &amp; Hydration Lotion FPS50+ 125ml</c:v>
                </c:pt>
                <c:pt idx="5">
                  <c:v>Nivea Sun Protection Sensitive Skin Gel FPS50+ 200ml</c:v>
                </c:pt>
                <c:pt idx="6">
                  <c:v>Banana Boat Aqua Protect Cream FPS50+ 236ml</c:v>
                </c:pt>
                <c:pt idx="7">
                  <c:v>Hawaiian Tropic Island Sport Lotion FPS50 240ml</c:v>
                </c:pt>
                <c:pt idx="8">
                  <c:v>Hawaiian Tropic Sheer Touch Lotion FPS50+ 240ml</c:v>
                </c:pt>
                <c:pt idx="9">
                  <c:v>Banana Boat Aqua Protect Kids Cream FPS50+ 236ml</c:v>
                </c:pt>
                <c:pt idx="10">
                  <c:v>Banana Boat Advanced Protection Lotion FPS50+ 240ml</c:v>
                </c:pt>
              </c:strCache>
            </c:strRef>
          </c:cat>
          <c:val>
            <c:numRef>
              <c:f>Sheet1!$B$2:$B$12</c:f>
              <c:numCache>
                <c:formatCode>General</c:formatCode>
                <c:ptCount val="11"/>
                <c:pt idx="0">
                  <c:v>0.06657595872964385</c:v>
                </c:pt>
                <c:pt idx="1">
                  <c:v>0.06435818378237498</c:v>
                </c:pt>
                <c:pt idx="2">
                  <c:v>0.05486539486146374</c:v>
                </c:pt>
                <c:pt idx="3">
                  <c:v>0.04273401747678918</c:v>
                </c:pt>
                <c:pt idx="4">
                  <c:v>0.03525616706580505</c:v>
                </c:pt>
                <c:pt idx="5">
                  <c:v>0.0348358610878809</c:v>
                </c:pt>
                <c:pt idx="6">
                  <c:v>0.03236162023722883</c:v>
                </c:pt>
                <c:pt idx="7">
                  <c:v>0.03148520685778139</c:v>
                </c:pt>
                <c:pt idx="8">
                  <c:v>0.02814518433318839</c:v>
                </c:pt>
                <c:pt idx="9">
                  <c:v>0.026551432339693086</c:v>
                </c:pt>
                <c:pt idx="10">
                  <c:v>0.02592950455345541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eautycare Glow Stick FPS50 2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0200645944209164</c:v>
                </c:pt>
                <c:pt idx="1">
                  <c:v>0.04947572708990191</c:v>
                </c:pt>
                <c:pt idx="2">
                  <c:v>0.03965456611532547</c:v>
                </c:pt>
                <c:pt idx="3">
                  <c:v>0.027610977645276896</c:v>
                </c:pt>
                <c:pt idx="4">
                  <c:v>0.029304774676602384</c:v>
                </c:pt>
                <c:pt idx="5">
                  <c:v>0.027941536866177355</c:v>
                </c:pt>
                <c:pt idx="6">
                  <c:v>0.025515503283629275</c:v>
                </c:pt>
                <c:pt idx="7">
                  <c:v>0.026235033920236666</c:v>
                </c:pt>
                <c:pt idx="8">
                  <c:v>0.02516161588603824</c:v>
                </c:pt>
                <c:pt idx="9">
                  <c:v>0.02265206039296699</c:v>
                </c:pt>
                <c:pt idx="10">
                  <c:v>0.020285862039869026</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eautycare Glow Serum FPS50 3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963387125970544</c:v>
                </c:pt>
                <c:pt idx="1">
                  <c:v>0.05922784457968519</c:v>
                </c:pt>
                <c:pt idx="2">
                  <c:v>0.036450407068832166</c:v>
                </c:pt>
                <c:pt idx="3">
                  <c:v>0.03613686949258627</c:v>
                </c:pt>
                <c:pt idx="4">
                  <c:v>0.044444071845679355</c:v>
                </c:pt>
                <c:pt idx="5">
                  <c:v>0.02768011967262059</c:v>
                </c:pt>
                <c:pt idx="6">
                  <c:v>0.02759075676902643</c:v>
                </c:pt>
                <c:pt idx="7">
                  <c:v>0.024733816967755853</c:v>
                </c:pt>
                <c:pt idx="8">
                  <c:v>0.022787901459555816</c:v>
                </c:pt>
                <c:pt idx="9">
                  <c:v>0.02474340278030907</c:v>
                </c:pt>
                <c:pt idx="10">
                  <c:v>0.026389677390072815</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Pro Age Color Face Fluid FPS50+ 5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297142527339336</c:v>
                </c:pt>
                <c:pt idx="1">
                  <c:v>0.04603022384673651</c:v>
                </c:pt>
                <c:pt idx="2">
                  <c:v>0.037522353519911573</c:v>
                </c:pt>
                <c:pt idx="3">
                  <c:v>0.03733219718364989</c:v>
                </c:pt>
                <c:pt idx="4">
                  <c:v>0.032895586638205486</c:v>
                </c:pt>
                <c:pt idx="5">
                  <c:v>0.02189956513789952</c:v>
                </c:pt>
                <c:pt idx="6">
                  <c:v>0.025329025010254216</c:v>
                </c:pt>
                <c:pt idx="7">
                  <c:v>0.02493543879889602</c:v>
                </c:pt>
                <c:pt idx="8">
                  <c:v>0.024901879390780236</c:v>
                </c:pt>
                <c:pt idx="9">
                  <c:v>0.020902492445837705</c:v>
                </c:pt>
                <c:pt idx="10">
                  <c:v>0.02412058375027125</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tick FPS50 2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spPr>
              <a:solidFill>
                <a:srgbClr val="7ECAC4"/>
              </a:solidFill>
            </c:spPr>
            <c:extLst>
              <c:ext xmlns:c16="http://schemas.microsoft.com/office/drawing/2014/chart" uri="{C3380CC4-5D6E-409C-BE32-E72D297353CC}">
                <c16:uniqueId val="{0000001C-7980-4C82-8C1C-32D5A7B4E44B}"/>
              </c:ext>
            </c:extLst>
          </c:dPt>
          <c:dPt>
            <c:idx val="15"/>
            <c:invertIfNegative val="1"/>
            <c:bubble3D val="0"/>
            <c:spPr>
              <a:solidFill>
                <a:srgbClr val="AEABAB"/>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AEABAB"/>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7ECAC4"/>
              </a:solidFill>
            </c:spPr>
            <c:extLst>
              <c:ext xmlns:c16="http://schemas.microsoft.com/office/drawing/2014/chart" uri="{C3380CC4-5D6E-409C-BE32-E72D297353CC}">
                <c16:uniqueId val="{0000002C-7980-4C82-8C1C-32D5A7B4E44B}"/>
              </c:ext>
            </c:extLst>
          </c:dPt>
          <c:dPt>
            <c:idx val="34"/>
            <c:invertIfNegative val="1"/>
            <c:bubble3D val="0"/>
            <c:spPr>
              <a:solidFill>
                <a:srgbClr val="AEABAB"/>
              </a:solidFill>
            </c:spPr>
            <c:extLst>
              <c:ext xmlns:c16="http://schemas.microsoft.com/office/drawing/2014/chart" uri="{C3380CC4-5D6E-409C-BE32-E72D297353CC}">
                <c16:uniqueId val="{00000007-7980-4C82-8C1C-32D5A7B4E44B}"/>
              </c:ext>
            </c:extLst>
          </c:dPt>
          <c:dPt>
            <c:idx val="35"/>
            <c:invertIfNegative val="1"/>
            <c:bubble3D val="0"/>
            <c:spPr>
              <a:solidFill>
                <a:srgbClr val="7ECAC4"/>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AEABAB"/>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7ECAC4"/>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AEABAB"/>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spPr>
              <a:solidFill>
                <a:srgbClr val="7ECAC4"/>
              </a:solidFill>
            </c:spPr>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AEABAB"/>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7ECAC4"/>
              </a:solidFill>
            </c:spPr>
            <c:extLst>
              <c:ext xmlns:c16="http://schemas.microsoft.com/office/drawing/2014/chart" uri="{C3380CC4-5D6E-409C-BE32-E72D297353CC}">
                <c16:uniqueId val="{00000073-77EF-42ED-BAFF-03BF265C16B5}"/>
              </c:ext>
            </c:extLst>
          </c:dPt>
          <c:dPt>
            <c:idx val="58"/>
            <c:invertIfNegative val="1"/>
            <c:bubble3D val="0"/>
            <c:spPr>
              <a:solidFill>
                <a:srgbClr val="AEABAB"/>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7ECAC4"/>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AEABAB"/>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7ECAC4"/>
              </a:solidFill>
            </c:spPr>
            <c:extLst>
              <c:ext xmlns:c16="http://schemas.microsoft.com/office/drawing/2014/chart" uri="{C3380CC4-5D6E-409C-BE32-E72D297353CC}">
                <c16:uniqueId val="{00000087-77EF-42ED-BAFF-03BF265C16B5}"/>
              </c:ext>
            </c:extLst>
          </c:dPt>
          <c:dPt>
            <c:idx val="68"/>
            <c:invertIfNegative val="1"/>
            <c:bubble3D val="0"/>
            <c:spPr>
              <a:solidFill>
                <a:srgbClr val="006C6D"/>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r>
                      <a:rPr sz="500">
                        <a:solidFill>
                          <a:srgbClr val="006C6D"/>
                        </a:solidFill>
                      </a:rPr>
                      <a:t>Beautycare Glow Stick FPS50 2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Glow Stick FPS50 20g</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772083846925</c:v>
                </c:pt>
                <c:pt idx="1">
                  <c:v>0.057722248615717994</c:v>
                </c:pt>
                <c:pt idx="2">
                  <c:v>0.05104064150384001</c:v>
                </c:pt>
                <c:pt idx="3">
                  <c:v>0.04531749297339594</c:v>
                </c:pt>
                <c:pt idx="4">
                  <c:v>0.043537173339973034</c:v>
                </c:pt>
                <c:pt idx="5">
                  <c:v>0.043503768517221715</c:v>
                </c:pt>
                <c:pt idx="6">
                  <c:v>0.035621200605687325</c:v>
                </c:pt>
                <c:pt idx="7">
                  <c:v>0.031167240088152894</c:v>
                </c:pt>
                <c:pt idx="8">
                  <c:v>0.027957458005984148</c:v>
                </c:pt>
                <c:pt idx="9">
                  <c:v>0.027210122288597025</c:v>
                </c:pt>
                <c:pt idx="10">
                  <c:v>0.022688928809820614</c:v>
                </c:pt>
                <c:pt idx="11">
                  <c:v>0.022630227122231353</c:v>
                </c:pt>
                <c:pt idx="12">
                  <c:v>0.020343944746245065</c:v>
                </c:pt>
                <c:pt idx="13">
                  <c:v>0.01942204722691044</c:v>
                </c:pt>
                <c:pt idx="14">
                  <c:v>0.017306355724314076</c:v>
                </c:pt>
                <c:pt idx="15">
                  <c:v>0.017286594182965298</c:v>
                </c:pt>
                <c:pt idx="16">
                  <c:v>0.01713679780908577</c:v>
                </c:pt>
                <c:pt idx="17">
                  <c:v>0.01529475671222473</c:v>
                </c:pt>
                <c:pt idx="18">
                  <c:v>0.014817867984851463</c:v>
                </c:pt>
                <c:pt idx="19">
                  <c:v>0.01463450600325198</c:v>
                </c:pt>
                <c:pt idx="20">
                  <c:v>0.014076297047913383</c:v>
                </c:pt>
                <c:pt idx="21">
                  <c:v>0.013508464726890785</c:v>
                </c:pt>
                <c:pt idx="22">
                  <c:v>0.01245832240581279</c:v>
                </c:pt>
                <c:pt idx="23">
                  <c:v>0.012202624555518913</c:v>
                </c:pt>
                <c:pt idx="24">
                  <c:v>0.012014479649420887</c:v>
                </c:pt>
                <c:pt idx="25">
                  <c:v>0.011984732041639632</c:v>
                </c:pt>
                <c:pt idx="26">
                  <c:v>0.011767794166016114</c:v>
                </c:pt>
                <c:pt idx="27">
                  <c:v>0.010831904289996726</c:v>
                </c:pt>
                <c:pt idx="28">
                  <c:v>0.010540014882484053</c:v>
                </c:pt>
                <c:pt idx="29">
                  <c:v>0.010362211448925723</c:v>
                </c:pt>
                <c:pt idx="30">
                  <c:v>0.00988931268898184</c:v>
                </c:pt>
                <c:pt idx="31">
                  <c:v>0.009882851093309193</c:v>
                </c:pt>
                <c:pt idx="32">
                  <c:v>0.009726599315837423</c:v>
                </c:pt>
                <c:pt idx="33">
                  <c:v>0.009606979694206576</c:v>
                </c:pt>
                <c:pt idx="34">
                  <c:v>0.009286442591851293</c:v>
                </c:pt>
                <c:pt idx="35">
                  <c:v>0.00926047676066254</c:v>
                </c:pt>
                <c:pt idx="36">
                  <c:v>0.009259443925026272</c:v>
                </c:pt>
                <c:pt idx="37">
                  <c:v>0.009240364265179313</c:v>
                </c:pt>
                <c:pt idx="38">
                  <c:v>0.007557116101232674</c:v>
                </c:pt>
                <c:pt idx="39">
                  <c:v>0.007225574538188416</c:v>
                </c:pt>
                <c:pt idx="40">
                  <c:v>0.007027715106241488</c:v>
                </c:pt>
                <c:pt idx="41">
                  <c:v>0.006942814697017534</c:v>
                </c:pt>
                <c:pt idx="42">
                  <c:v>0.006845049304597826</c:v>
                </c:pt>
                <c:pt idx="43">
                  <c:v>0.006645479751196416</c:v>
                </c:pt>
                <c:pt idx="44">
                  <c:v>0.006577228897750504</c:v>
                </c:pt>
                <c:pt idx="45">
                  <c:v>0.006512323374437573</c:v>
                </c:pt>
                <c:pt idx="46">
                  <c:v>0.006141573021307887</c:v>
                </c:pt>
                <c:pt idx="47">
                  <c:v>0.00605054037417906</c:v>
                </c:pt>
                <c:pt idx="48">
                  <c:v>0.005563264987812143</c:v>
                </c:pt>
                <c:pt idx="49">
                  <c:v>0.0052740652142101545</c:v>
                </c:pt>
                <c:pt idx="50">
                  <c:v>0.0052217767627743515</c:v>
                </c:pt>
                <c:pt idx="51">
                  <c:v>0.00503687950613067</c:v>
                </c:pt>
                <c:pt idx="52">
                  <c:v>0.004834084051861367</c:v>
                </c:pt>
                <c:pt idx="53">
                  <c:v>0.004811804641131281</c:v>
                </c:pt>
                <c:pt idx="54">
                  <c:v>0.004714483485518718</c:v>
                </c:pt>
                <c:pt idx="55">
                  <c:v>0.004585699912992855</c:v>
                </c:pt>
                <c:pt idx="56">
                  <c:v>0.004540932566522778</c:v>
                </c:pt>
                <c:pt idx="57">
                  <c:v>0.004165748025651664</c:v>
                </c:pt>
                <c:pt idx="58">
                  <c:v>0.004110171954127205</c:v>
                </c:pt>
                <c:pt idx="59">
                  <c:v>0.003951156741567479</c:v>
                </c:pt>
                <c:pt idx="60">
                  <c:v>0.0037905338102417387</c:v>
                </c:pt>
                <c:pt idx="61">
                  <c:v>0.0036510582855175276</c:v>
                </c:pt>
                <c:pt idx="62">
                  <c:v>0.0034540603449409015</c:v>
                </c:pt>
                <c:pt idx="63">
                  <c:v>0.003090240578689658</c:v>
                </c:pt>
                <c:pt idx="64">
                  <c:v>0.003054560582560729</c:v>
                </c:pt>
                <c:pt idx="65">
                  <c:v>0.00279017606208449</c:v>
                </c:pt>
                <c:pt idx="66">
                  <c:v>0.0026848125460827493</c:v>
                </c:pt>
                <c:pt idx="67">
                  <c:v>0.0018631167930163207</c:v>
                </c:pt>
                <c:pt idx="68">
                  <c:v>0.0017865800875041312</c:v>
                </c:pt>
                <c:pt idx="69">
                  <c:v>0.0016483094070555981</c:v>
                </c:pt>
                <c:pt idx="70">
                  <c:v>0.0016351143403608558</c:v>
                </c:pt>
                <c:pt idx="71">
                  <c:v>0.0015040255440291969</c:v>
                </c:pt>
                <c:pt idx="72">
                  <c:v>0.001488480438473432</c:v>
                </c:pt>
                <c:pt idx="73">
                  <c:v>0.0012929960667779907</c:v>
                </c:pt>
                <c:pt idx="74">
                  <c:v>0.001232210439562923</c:v>
                </c:pt>
                <c:pt idx="75">
                  <c:v>0.0011546253080318423</c:v>
                </c:pt>
                <c:pt idx="76">
                  <c:v>0.0011202189029113623</c:v>
                </c:pt>
                <c:pt idx="77">
                  <c:v>0.001083581698695554</c:v>
                </c:pt>
                <c:pt idx="78">
                  <c:v>0.0009196512220673292</c:v>
                </c:pt>
                <c:pt idx="79">
                  <c:v>0.0007157948453749826</c:v>
                </c:pt>
                <c:pt idx="80">
                  <c:v>0.0006179610309568716</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eautycare Glow Lip Oil FPS5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Nivea Sun Protect &amp; Refresh Sport Lotion FPS50 200ml</c:v>
                </c:pt>
                <c:pt idx="2">
                  <c:v>Hawaiian Tropic Ozono Lotion FPS50+ 240ml</c:v>
                </c:pt>
                <c:pt idx="3">
                  <c:v>Nivea Sun Protection &amp; Hydration Lotion FPS50+ 125ml</c:v>
                </c:pt>
                <c:pt idx="4">
                  <c:v>Nivea Sun Protection Sensitive Skin Gel FPS50+ 200ml</c:v>
                </c:pt>
                <c:pt idx="5">
                  <c:v>Nivea Sun Protect &amp; Refresh Sport Spray FPS50 200ml</c:v>
                </c:pt>
                <c:pt idx="6">
                  <c:v>Hawaiian Tropic Sheer Touch Lotion FPS50+ 240ml</c:v>
                </c:pt>
                <c:pt idx="7">
                  <c:v>Neutrogena Sun Fresh Cream FPS50 200ml</c:v>
                </c:pt>
                <c:pt idx="8">
                  <c:v>Nivea Sun Kids Swim &amp; Play Gel FPS50+ 150ml</c:v>
                </c:pt>
                <c:pt idx="9">
                  <c:v>Hawaiian Tropic Island Sport Lotion FPS50 240ml</c:v>
                </c:pt>
                <c:pt idx="10">
                  <c:v>Nivea Sun Face Shine Control FPS50+ 50ml</c:v>
                </c:pt>
              </c:strCache>
            </c:strRef>
          </c:cat>
          <c:val>
            <c:numRef>
              <c:f>Sheet1!$B$2:$B$12</c:f>
              <c:numCache>
                <c:formatCode>General</c:formatCode>
                <c:ptCount val="11"/>
                <c:pt idx="0">
                  <c:v>0.05577911288649945</c:v>
                </c:pt>
                <c:pt idx="1">
                  <c:v>0.04775289498011611</c:v>
                </c:pt>
                <c:pt idx="2">
                  <c:v>0.03440985162848863</c:v>
                </c:pt>
                <c:pt idx="3">
                  <c:v>0.0396819797020872</c:v>
                </c:pt>
                <c:pt idx="4">
                  <c:v>0.02875422641490925</c:v>
                </c:pt>
                <c:pt idx="5">
                  <c:v>0.02443186221902287</c:v>
                </c:pt>
                <c:pt idx="6">
                  <c:v>0.023498127841630537</c:v>
                </c:pt>
                <c:pt idx="7">
                  <c:v>0.01971761282814723</c:v>
                </c:pt>
                <c:pt idx="8">
                  <c:v>0.02232358505447862</c:v>
                </c:pt>
                <c:pt idx="9">
                  <c:v>0.024213425691536436</c:v>
                </c:pt>
                <c:pt idx="10">
                  <c:v>0.021711277649206582</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Banana Boat Kids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Banana Boat Aqua Protect Sport Lotion FPS50+ 236ml</c:v>
                </c:pt>
                <c:pt idx="2">
                  <c:v>Banana Boat Dry Balance Sport Spray FPS50 170ml</c:v>
                </c:pt>
                <c:pt idx="3">
                  <c:v>Nivea Sun Protection &amp; Hydration Cream FPS50+ 200ml</c:v>
                </c:pt>
                <c:pt idx="4">
                  <c:v>Hawaiian Tropic Ozono Lotion FPS50+ 240ml</c:v>
                </c:pt>
                <c:pt idx="5">
                  <c:v>Hawaiian Tropic Sheer Touch Lotion FPS50+ 240ml</c:v>
                </c:pt>
                <c:pt idx="6">
                  <c:v>Hawaiian Tropic Island Sport Lotion FPS50 240ml</c:v>
                </c:pt>
                <c:pt idx="7">
                  <c:v>Banana Boat Aqua Protect Cream FPS50+ 236ml</c:v>
                </c:pt>
                <c:pt idx="8">
                  <c:v>Banana Boat Aqua Protect Kids Cream FPS50+ 236ml</c:v>
                </c:pt>
                <c:pt idx="9">
                  <c:v>Nivea Sun Protection Sensitive Skin Gel FPS50+ 200ml</c:v>
                </c:pt>
                <c:pt idx="10">
                  <c:v>Nivea Sun Protect &amp; Refresh Sport Spray FPS50 200ml</c:v>
                </c:pt>
              </c:strCache>
            </c:strRef>
          </c:cat>
          <c:val>
            <c:numRef>
              <c:f>Sheet1!$B$2:$B$12</c:f>
              <c:numCache>
                <c:formatCode>General</c:formatCode>
                <c:ptCount val="11"/>
                <c:pt idx="0">
                  <c:v>0.07244149525890899</c:v>
                </c:pt>
                <c:pt idx="1">
                  <c:v>0.06278928752017372</c:v>
                </c:pt>
                <c:pt idx="2">
                  <c:v>0.05664380788051425</c:v>
                </c:pt>
                <c:pt idx="3">
                  <c:v>0.05392724674913904</c:v>
                </c:pt>
                <c:pt idx="4">
                  <c:v>0.04338257247325799</c:v>
                </c:pt>
                <c:pt idx="5">
                  <c:v>0.03760582715415858</c:v>
                </c:pt>
                <c:pt idx="6">
                  <c:v>0.03260553213774226</c:v>
                </c:pt>
                <c:pt idx="7">
                  <c:v>0.03028413865042513</c:v>
                </c:pt>
                <c:pt idx="8">
                  <c:v>0.030051898510502634</c:v>
                </c:pt>
                <c:pt idx="9">
                  <c:v>0.028070805129154282</c:v>
                </c:pt>
                <c:pt idx="10">
                  <c:v>0.026847338685133407</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Lotion FPS50+ 3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393282620273244</c:v>
                </c:pt>
                <c:pt idx="1">
                  <c:v>0.08262004965335869</c:v>
                </c:pt>
                <c:pt idx="2">
                  <c:v>0.08789867217646512</c:v>
                </c:pt>
                <c:pt idx="3">
                  <c:v>0.07716338393251616</c:v>
                </c:pt>
                <c:pt idx="4">
                  <c:v>0.0468661101030504</c:v>
                </c:pt>
                <c:pt idx="5">
                  <c:v>0.049028227003304455</c:v>
                </c:pt>
                <c:pt idx="6">
                  <c:v>0.02653191749931616</c:v>
                </c:pt>
                <c:pt idx="7">
                  <c:v>0.0317969788325395</c:v>
                </c:pt>
                <c:pt idx="8">
                  <c:v>0.02470905854210555</c:v>
                </c:pt>
                <c:pt idx="9">
                  <c:v>0.021537065038704967</c:v>
                </c:pt>
                <c:pt idx="10">
                  <c:v>0.019795204811843454</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Ozono Stick FPS50+ 42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46467747496506576</c:v>
                </c:pt>
                <c:pt idx="1">
                  <c:v>0.05815722565518644</c:v>
                </c:pt>
                <c:pt idx="2">
                  <c:v>0.034350816276175686</c:v>
                </c:pt>
                <c:pt idx="3">
                  <c:v>0.028656221005602802</c:v>
                </c:pt>
                <c:pt idx="4">
                  <c:v>0.03384573886320699</c:v>
                </c:pt>
                <c:pt idx="5">
                  <c:v>0.024363333718762613</c:v>
                </c:pt>
                <c:pt idx="6">
                  <c:v>0.03093463542692089</c:v>
                </c:pt>
                <c:pt idx="7">
                  <c:v>0.012171386934668472</c:v>
                </c:pt>
                <c:pt idx="8">
                  <c:v>0.01653567160275922</c:v>
                </c:pt>
                <c:pt idx="9">
                  <c:v>0.018981260848371446</c:v>
                </c:pt>
                <c:pt idx="10">
                  <c:v>0.03033333065240753</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Ozono Ultra-Light FPS50+ 1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Hawaiian Tropic Sheer Touch Lotion FPS50+ 240ml</c:v>
                </c:pt>
                <c:pt idx="3">
                  <c:v>Hawaiian Tropic Island Sport Lotion FPS50 240ml</c:v>
                </c:pt>
                <c:pt idx="4">
                  <c:v>Nivea Sun Protect &amp; Refresh Sport Lotion FPS50 200ml</c:v>
                </c:pt>
                <c:pt idx="5">
                  <c:v>Nivea Sun Protection Sensitive Skin Gel FPS50+ 200ml</c:v>
                </c:pt>
                <c:pt idx="6">
                  <c:v>Nivea Sun Protection &amp; Hydration Lotion FPS50+ 125ml</c:v>
                </c:pt>
                <c:pt idx="7">
                  <c:v>Banana Boat Advanced Protection Lotion FPS50+ 240ml</c:v>
                </c:pt>
                <c:pt idx="8">
                  <c:v>Banana Boat Aqua Protect Sport Lotion FPS50+ 236ml</c:v>
                </c:pt>
                <c:pt idx="9">
                  <c:v>Nivea Sun Babies &amp; Kids Lotion FPS50+ 200ml</c:v>
                </c:pt>
                <c:pt idx="10">
                  <c:v>Neutrogena Sun Fresh Cream FPS50 200ml</c:v>
                </c:pt>
              </c:strCache>
            </c:strRef>
          </c:cat>
          <c:val>
            <c:numRef>
              <c:f>Sheet1!$B$2:$B$12</c:f>
              <c:numCache>
                <c:formatCode>General</c:formatCode>
                <c:ptCount val="11"/>
                <c:pt idx="0">
                  <c:v>0.07619497006537802</c:v>
                </c:pt>
                <c:pt idx="1">
                  <c:v>0.05106470657601629</c:v>
                </c:pt>
                <c:pt idx="2">
                  <c:v>0.048940348913589594</c:v>
                </c:pt>
                <c:pt idx="3">
                  <c:v>0.037258680635385275</c:v>
                </c:pt>
                <c:pt idx="4">
                  <c:v>0.060368437128472514</c:v>
                </c:pt>
                <c:pt idx="5">
                  <c:v>0.04109344536788304</c:v>
                </c:pt>
                <c:pt idx="6">
                  <c:v>0.04535669600958842</c:v>
                </c:pt>
                <c:pt idx="7">
                  <c:v>0.024216743420216284</c:v>
                </c:pt>
                <c:pt idx="8">
                  <c:v>0.02553212109977516</c:v>
                </c:pt>
                <c:pt idx="9">
                  <c:v>0.02507562485065855</c:v>
                </c:pt>
                <c:pt idx="10">
                  <c:v>0.01529801016095394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Serum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6087259708535588</c:v>
                </c:pt>
                <c:pt idx="1">
                  <c:v>0.051769634758080635</c:v>
                </c:pt>
                <c:pt idx="2">
                  <c:v>0.05128721693300837</c:v>
                </c:pt>
                <c:pt idx="3">
                  <c:v>0.04183072672090938</c:v>
                </c:pt>
                <c:pt idx="4">
                  <c:v>0.035846563190143114</c:v>
                </c:pt>
                <c:pt idx="5">
                  <c:v>0.03375950539595541</c:v>
                </c:pt>
                <c:pt idx="6">
                  <c:v>0.028543600969109507</c:v>
                </c:pt>
                <c:pt idx="7">
                  <c:v>0.02224536581590533</c:v>
                </c:pt>
                <c:pt idx="8">
                  <c:v>0.02531228839620376</c:v>
                </c:pt>
                <c:pt idx="9">
                  <c:v>0.02650554197891689</c:v>
                </c:pt>
                <c:pt idx="10">
                  <c:v>0.02016729586339805</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39466813932E-2"/>
          <c:y val="0"/>
          <c:w val="0.96518562554386689"/>
          <c:h val="1"/>
        </c:manualLayout>
      </c:layout>
      <c:barChart>
        <c:barDir val="bar"/>
        <c:grouping val="clustered"/>
        <c:varyColors val="0"/>
        <c:ser>
          <c:idx val="2"/>
          <c:order val="0"/>
          <c:tx>
            <c:strRef>
              <c:f>Sheet1!$B$1</c:f>
              <c:strCache>
                <c:ptCount val="1"/>
                <c:pt idx="0">
                  <c:v>Hawaiian Tropic Silk Hydration Lip balm FPS30 1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38572387535556</c:v>
                </c:pt>
                <c:pt idx="1">
                  <c:v>0.040936983353233175</c:v>
                </c:pt>
                <c:pt idx="2">
                  <c:v>0.04498337640272608</c:v>
                </c:pt>
                <c:pt idx="3">
                  <c:v>0.03970092631271571</c:v>
                </c:pt>
                <c:pt idx="4">
                  <c:v>0.02870150441596174</c:v>
                </c:pt>
                <c:pt idx="5">
                  <c:v>0.02939201083427798</c:v>
                </c:pt>
                <c:pt idx="6">
                  <c:v>0.027831637955557677</c:v>
                </c:pt>
                <c:pt idx="7">
                  <c:v>0.024564970034208027</c:v>
                </c:pt>
                <c:pt idx="8">
                  <c:v>0.01819453092861309</c:v>
                </c:pt>
                <c:pt idx="9">
                  <c:v>0.01883239358499354</c:v>
                </c:pt>
                <c:pt idx="10">
                  <c:v>0.0238972215560816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Hawaiian Tropic Silk Hydration Glow Mist FPS50+ 1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ion &amp; Hydration Cream FPS50+ 200ml</c:v>
                </c:pt>
                <c:pt idx="1">
                  <c:v>Hawaiian Tropic Ozono Lotion FPS50+ 240ml</c:v>
                </c:pt>
                <c:pt idx="2">
                  <c:v>Nivea Sun Protect &amp; Refresh Sport Lotion FPS50 200ml</c:v>
                </c:pt>
                <c:pt idx="3">
                  <c:v>Nivea Sun Protection &amp; Hydration Lotion FPS50+ 125ml</c:v>
                </c:pt>
                <c:pt idx="4">
                  <c:v>Hawaiian Tropic Sheer Touch Lotion FPS50+ 240ml</c:v>
                </c:pt>
                <c:pt idx="5">
                  <c:v>Nivea Sun Protection Sensitive Skin Gel FPS50+ 200ml</c:v>
                </c:pt>
                <c:pt idx="6">
                  <c:v>Hawaiian Tropic Island Sport Lotion FPS50 240ml</c:v>
                </c:pt>
                <c:pt idx="7">
                  <c:v>Equate Sport Lotion FPS30 237ml</c:v>
                </c:pt>
                <c:pt idx="8">
                  <c:v>Banana Boat Aqua Protect Sport Lotion FPS50+ 236ml</c:v>
                </c:pt>
                <c:pt idx="9">
                  <c:v>Hawaiian Tropic Sheer Touch Lotion FPS50 120ml</c:v>
                </c:pt>
                <c:pt idx="10">
                  <c:v>Nivea Sun Babies &amp; Kids Lotion FPS50+ 200ml</c:v>
                </c:pt>
              </c:strCache>
            </c:strRef>
          </c:cat>
          <c:val>
            <c:numRef>
              <c:f>Sheet1!$B$2:$B$12</c:f>
              <c:numCache>
                <c:formatCode>General</c:formatCode>
                <c:ptCount val="11"/>
                <c:pt idx="0">
                  <c:v>0.049059675658189784</c:v>
                </c:pt>
                <c:pt idx="1">
                  <c:v>0.05117644664930938</c:v>
                </c:pt>
                <c:pt idx="2">
                  <c:v>0.04334234661495873</c:v>
                </c:pt>
                <c:pt idx="3">
                  <c:v>0.03360850736025505</c:v>
                </c:pt>
                <c:pt idx="4">
                  <c:v>0.03739753693009775</c:v>
                </c:pt>
                <c:pt idx="5">
                  <c:v>0.027758241150911373</c:v>
                </c:pt>
                <c:pt idx="6">
                  <c:v>0.031172964951363565</c:v>
                </c:pt>
                <c:pt idx="7">
                  <c:v>0.022499375512115075</c:v>
                </c:pt>
                <c:pt idx="8">
                  <c:v>0.025024319177786865</c:v>
                </c:pt>
                <c:pt idx="9">
                  <c:v>0.022368742499551442</c:v>
                </c:pt>
                <c:pt idx="10">
                  <c:v>0.019611678211101474</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147466194934E-2"/>
          <c:y val="0"/>
          <c:w val="0.96518562554386689"/>
          <c:h val="1"/>
        </c:manualLayout>
      </c:layout>
      <c:barChart>
        <c:barDir val="bar"/>
        <c:grouping val="clustered"/>
        <c:varyColors val="0"/>
        <c:ser>
          <c:idx val="2"/>
          <c:order val="0"/>
          <c:tx>
            <c:strRef>
              <c:f>Sheet1!$B$1</c:f>
              <c:strCache>
                <c:ptCount val="1"/>
                <c:pt idx="0">
                  <c:v>Banana Boat Aqua Protect Sport Spray FPS50+ 24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A16F-412C-84B5-C6CF2DB60E7E}"/>
              </c:ext>
            </c:extLst>
          </c:dPt>
          <c:dPt>
            <c:idx val="1"/>
            <c:invertIfNegative val="1"/>
            <c:bubble3D val="0"/>
            <c:spPr>
              <a:solidFill>
                <a:srgbClr val="AEABAB"/>
              </a:solidFill>
            </c:spPr>
            <c:extLst>
              <c:ext xmlns:c16="http://schemas.microsoft.com/office/drawing/2014/chart" uri="{C3380CC4-5D6E-409C-BE32-E72D297353CC}">
                <c16:uniqueId val="{00000003-A16F-412C-84B5-C6CF2DB60E7E}"/>
              </c:ext>
            </c:extLst>
          </c:dPt>
          <c:dPt>
            <c:idx val="2"/>
            <c:invertIfNegative val="1"/>
            <c:bubble3D val="0"/>
            <c:spPr>
              <a:solidFill>
                <a:srgbClr val="AEABAB"/>
              </a:solidFill>
            </c:spPr>
            <c:extLst>
              <c:ext xmlns:c16="http://schemas.microsoft.com/office/drawing/2014/chart" uri="{C3380CC4-5D6E-409C-BE32-E72D297353CC}">
                <c16:uniqueId val="{00000005-A16F-412C-84B5-C6CF2DB60E7E}"/>
              </c:ext>
            </c:extLst>
          </c:dPt>
          <c:dPt>
            <c:idx val="3"/>
            <c:invertIfNegative val="1"/>
            <c:bubble3D val="0"/>
            <c:spPr>
              <a:solidFill>
                <a:srgbClr val="AEABAB"/>
              </a:solidFill>
            </c:spPr>
            <c:extLst>
              <c:ext xmlns:c16="http://schemas.microsoft.com/office/drawing/2014/chart" uri="{C3380CC4-5D6E-409C-BE32-E72D297353CC}">
                <c16:uniqueId val="{00000007-A16F-412C-84B5-C6CF2DB60E7E}"/>
              </c:ext>
            </c:extLst>
          </c:dPt>
          <c:dPt>
            <c:idx val="4"/>
            <c:invertIfNegative val="1"/>
            <c:bubble3D val="0"/>
            <c:spPr>
              <a:solidFill>
                <a:srgbClr val="AEABAB"/>
              </a:solidFill>
            </c:spPr>
            <c:extLst>
              <c:ext xmlns:c16="http://schemas.microsoft.com/office/drawing/2014/chart" uri="{C3380CC4-5D6E-409C-BE32-E72D297353CC}">
                <c16:uniqueId val="{00000009-A16F-412C-84B5-C6CF2DB60E7E}"/>
              </c:ext>
            </c:extLst>
          </c:dPt>
          <c:dPt>
            <c:idx val="5"/>
            <c:invertIfNegative val="1"/>
            <c:bubble3D val="0"/>
            <c:spPr>
              <a:solidFill>
                <a:srgbClr val="AEABAB"/>
              </a:solidFill>
            </c:spPr>
            <c:extLst>
              <c:ext xmlns:c16="http://schemas.microsoft.com/office/drawing/2014/chart" uri="{C3380CC4-5D6E-409C-BE32-E72D297353CC}">
                <c16:uniqueId val="{0000000B-A16F-412C-84B5-C6CF2DB60E7E}"/>
              </c:ext>
            </c:extLst>
          </c:dPt>
          <c:dPt>
            <c:idx val="6"/>
            <c:invertIfNegative val="1"/>
            <c:bubble3D val="0"/>
            <c:spPr>
              <a:solidFill>
                <a:srgbClr val="AEABAB"/>
              </a:solidFill>
            </c:spPr>
            <c:extLst>
              <c:ext xmlns:c16="http://schemas.microsoft.com/office/drawing/2014/chart" uri="{C3380CC4-5D6E-409C-BE32-E72D297353CC}">
                <c16:uniqueId val="{0000000D-A16F-412C-84B5-C6CF2DB60E7E}"/>
              </c:ext>
            </c:extLst>
          </c:dPt>
          <c:dPt>
            <c:idx val="7"/>
            <c:invertIfNegative val="1"/>
            <c:bubble3D val="0"/>
            <c:spPr>
              <a:solidFill>
                <a:srgbClr val="AEABAB"/>
              </a:solidFill>
            </c:spPr>
            <c:extLst>
              <c:ext xmlns:c16="http://schemas.microsoft.com/office/drawing/2014/chart" uri="{C3380CC4-5D6E-409C-BE32-E72D297353CC}">
                <c16:uniqueId val="{00000000-FE5A-42FB-884A-EEDE11C690F3}"/>
              </c:ext>
            </c:extLst>
          </c:dPt>
          <c:dPt>
            <c:idx val="8"/>
            <c:invertIfNegative val="1"/>
            <c:bubble3D val="0"/>
            <c:spPr>
              <a:solidFill>
                <a:srgbClr val="AEABAB"/>
              </a:solidFill>
            </c:spPr>
            <c:extLst>
              <c:ext xmlns:c16="http://schemas.microsoft.com/office/drawing/2014/chart" uri="{C3380CC4-5D6E-409C-BE32-E72D297353CC}">
                <c16:uniqueId val="{00000001-FE5A-42FB-884A-EEDE11C690F3}"/>
              </c:ext>
            </c:extLst>
          </c:dPt>
          <c:dPt>
            <c:idx val="9"/>
            <c:invertIfNegative val="1"/>
            <c:bubble3D val="0"/>
            <c:spPr>
              <a:solidFill>
                <a:srgbClr val="AEABAB"/>
              </a:solidFill>
            </c:spPr>
            <c:extLst>
              <c:ext xmlns:c16="http://schemas.microsoft.com/office/drawing/2014/chart" uri="{C3380CC4-5D6E-409C-BE32-E72D297353CC}">
                <c16:uniqueId val="{00000002-FE5A-42FB-884A-EEDE11C690F3}"/>
              </c:ext>
            </c:extLst>
          </c:dPt>
          <c:dPt>
            <c:idx val="10"/>
            <c:invertIfNegative val="1"/>
            <c:bubble3D val="0"/>
            <c:spPr>
              <a:solidFill>
                <a:srgbClr val="AEABAB"/>
              </a:solidFill>
            </c:spPr>
            <c:extLst>
              <c:ext xmlns:c16="http://schemas.microsoft.com/office/drawing/2014/chart" uri="{C3380CC4-5D6E-409C-BE32-E72D297353CC}">
                <c16:uniqueId val="{00000003-FE5A-42FB-884A-EEDE11C690F3}"/>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6859129464213182</c:v>
                </c:pt>
                <c:pt idx="1">
                  <c:v>0.07094820446433277</c:v>
                </c:pt>
                <c:pt idx="2">
                  <c:v>0.04467335611672635</c:v>
                </c:pt>
                <c:pt idx="3">
                  <c:v>0.049771649130334154</c:v>
                </c:pt>
                <c:pt idx="4">
                  <c:v>0.03953544177966828</c:v>
                </c:pt>
                <c:pt idx="5">
                  <c:v>0.03925425931364853</c:v>
                </c:pt>
                <c:pt idx="6">
                  <c:v>0.03616082281804838</c:v>
                </c:pt>
                <c:pt idx="7">
                  <c:v>0.04071129418787159</c:v>
                </c:pt>
                <c:pt idx="8">
                  <c:v>0.03448673921876406</c:v>
                </c:pt>
                <c:pt idx="9">
                  <c:v>0.030630709044204087</c:v>
                </c:pt>
                <c:pt idx="10">
                  <c:v>0.02618122931143902</c:v>
                </c:pt>
              </c:numCache>
            </c:numRef>
          </c:val>
          <c:extLst>
            <c:ext xmlns:c16="http://schemas.microsoft.com/office/drawing/2014/chart" uri="{C3380CC4-5D6E-409C-BE32-E72D297353CC}">
              <c16:uniqueId val="{00000004-FE5A-42FB-884A-EEDE11C690F3}"/>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18030674935E-2"/>
          <c:y val="0"/>
          <c:w val="0.96518562554386689"/>
          <c:h val="1"/>
        </c:manualLayout>
      </c:layout>
      <c:barChart>
        <c:barDir val="bar"/>
        <c:grouping val="clustered"/>
        <c:varyColors val="0"/>
        <c:ser>
          <c:idx val="2"/>
          <c:order val="0"/>
          <c:tx>
            <c:strRef>
              <c:f>Sheet1!$B$1</c:f>
              <c:strCache>
                <c:ptCount val="1"/>
                <c:pt idx="0">
                  <c:v>Banana Boat Dry Balance Sport Stick FPS50+ 40g</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521-49DF-A3AD-01B14FDCFE2C}"/>
              </c:ext>
            </c:extLst>
          </c:dPt>
          <c:dPt>
            <c:idx val="1"/>
            <c:invertIfNegative val="1"/>
            <c:bubble3D val="0"/>
            <c:spPr>
              <a:solidFill>
                <a:srgbClr val="AEABAB"/>
              </a:solidFill>
            </c:spPr>
            <c:extLst>
              <c:ext xmlns:c16="http://schemas.microsoft.com/office/drawing/2014/chart" uri="{C3380CC4-5D6E-409C-BE32-E72D297353CC}">
                <c16:uniqueId val="{00000003-4521-49DF-A3AD-01B14FDCFE2C}"/>
              </c:ext>
            </c:extLst>
          </c:dPt>
          <c:dPt>
            <c:idx val="2"/>
            <c:invertIfNegative val="1"/>
            <c:bubble3D val="0"/>
            <c:spPr>
              <a:solidFill>
                <a:srgbClr val="AEABAB"/>
              </a:solidFill>
            </c:spPr>
            <c:extLst>
              <c:ext xmlns:c16="http://schemas.microsoft.com/office/drawing/2014/chart" uri="{C3380CC4-5D6E-409C-BE32-E72D297353CC}">
                <c16:uniqueId val="{00000005-4521-49DF-A3AD-01B14FDCFE2C}"/>
              </c:ext>
            </c:extLst>
          </c:dPt>
          <c:dPt>
            <c:idx val="3"/>
            <c:invertIfNegative val="1"/>
            <c:bubble3D val="0"/>
            <c:spPr>
              <a:solidFill>
                <a:srgbClr val="AEABAB"/>
              </a:solidFill>
            </c:spPr>
            <c:extLst>
              <c:ext xmlns:c16="http://schemas.microsoft.com/office/drawing/2014/chart" uri="{C3380CC4-5D6E-409C-BE32-E72D297353CC}">
                <c16:uniqueId val="{00000007-4521-49DF-A3AD-01B14FDCFE2C}"/>
              </c:ext>
            </c:extLst>
          </c:dPt>
          <c:dPt>
            <c:idx val="4"/>
            <c:invertIfNegative val="1"/>
            <c:bubble3D val="0"/>
            <c:spPr>
              <a:solidFill>
                <a:srgbClr val="AEABAB"/>
              </a:solidFill>
            </c:spPr>
            <c:extLst>
              <c:ext xmlns:c16="http://schemas.microsoft.com/office/drawing/2014/chart" uri="{C3380CC4-5D6E-409C-BE32-E72D297353CC}">
                <c16:uniqueId val="{00000009-4521-49DF-A3AD-01B14FDCFE2C}"/>
              </c:ext>
            </c:extLst>
          </c:dPt>
          <c:dPt>
            <c:idx val="5"/>
            <c:invertIfNegative val="1"/>
            <c:bubble3D val="0"/>
            <c:spPr>
              <a:solidFill>
                <a:srgbClr val="AEABAB"/>
              </a:solidFill>
            </c:spPr>
            <c:extLst>
              <c:ext xmlns:c16="http://schemas.microsoft.com/office/drawing/2014/chart" uri="{C3380CC4-5D6E-409C-BE32-E72D297353CC}">
                <c16:uniqueId val="{0000000B-4521-49DF-A3AD-01B14FDCFE2C}"/>
              </c:ext>
            </c:extLst>
          </c:dPt>
          <c:dPt>
            <c:idx val="6"/>
            <c:invertIfNegative val="1"/>
            <c:bubble3D val="0"/>
            <c:spPr>
              <a:solidFill>
                <a:srgbClr val="AEABAB"/>
              </a:solidFill>
            </c:spPr>
            <c:extLst>
              <c:ext xmlns:c16="http://schemas.microsoft.com/office/drawing/2014/chart" uri="{C3380CC4-5D6E-409C-BE32-E72D297353CC}">
                <c16:uniqueId val="{0000000D-4521-49DF-A3AD-01B14FDCFE2C}"/>
              </c:ext>
            </c:extLst>
          </c:dPt>
          <c:dPt>
            <c:idx val="7"/>
            <c:invertIfNegative val="1"/>
            <c:bubble3D val="0"/>
            <c:spPr>
              <a:solidFill>
                <a:srgbClr val="AEABAB"/>
              </a:solidFill>
            </c:spPr>
            <c:extLst>
              <c:ext xmlns:c16="http://schemas.microsoft.com/office/drawing/2014/chart" uri="{C3380CC4-5D6E-409C-BE32-E72D297353CC}">
                <c16:uniqueId val="{00000000-46AD-4608-B607-5E413AFB740D}"/>
              </c:ext>
            </c:extLst>
          </c:dPt>
          <c:dPt>
            <c:idx val="8"/>
            <c:invertIfNegative val="1"/>
            <c:bubble3D val="0"/>
            <c:spPr>
              <a:solidFill>
                <a:srgbClr val="AEABAB"/>
              </a:solidFill>
            </c:spPr>
            <c:extLst>
              <c:ext xmlns:c16="http://schemas.microsoft.com/office/drawing/2014/chart" uri="{C3380CC4-5D6E-409C-BE32-E72D297353CC}">
                <c16:uniqueId val="{00000001-46AD-4608-B607-5E413AFB740D}"/>
              </c:ext>
            </c:extLst>
          </c:dPt>
          <c:dPt>
            <c:idx val="9"/>
            <c:invertIfNegative val="1"/>
            <c:bubble3D val="0"/>
            <c:spPr>
              <a:solidFill>
                <a:srgbClr val="AEABAB"/>
              </a:solidFill>
            </c:spPr>
            <c:extLst>
              <c:ext xmlns:c16="http://schemas.microsoft.com/office/drawing/2014/chart" uri="{C3380CC4-5D6E-409C-BE32-E72D297353CC}">
                <c16:uniqueId val="{00000002-46AD-4608-B607-5E413AFB740D}"/>
              </c:ext>
            </c:extLst>
          </c:dPt>
          <c:dPt>
            <c:idx val="10"/>
            <c:invertIfNegative val="1"/>
            <c:bubble3D val="0"/>
            <c:spPr>
              <a:solidFill>
                <a:srgbClr val="AEABAB"/>
              </a:solidFill>
            </c:spPr>
            <c:extLst>
              <c:ext xmlns:c16="http://schemas.microsoft.com/office/drawing/2014/chart" uri="{C3380CC4-5D6E-409C-BE32-E72D297353CC}">
                <c16:uniqueId val="{00000003-46AD-4608-B607-5E413AFB740D}"/>
              </c:ext>
            </c:extLst>
          </c:dPt>
          <c:dPt>
            <c:idx val="11"/>
            <c:invertIfNegative val="1"/>
            <c:bubble3D val="0"/>
            <c:spPr>
              <a:solidFill>
                <a:srgbClr val="AEABAB"/>
              </a:solidFill>
            </c:spPr>
            <c:extLst>
              <c:ext xmlns:c16="http://schemas.microsoft.com/office/drawing/2014/chart" uri="{C3380CC4-5D6E-409C-BE32-E72D297353CC}">
                <c16:uniqueId val="{00000017-4521-49DF-A3AD-01B14FDCFE2C}"/>
              </c:ext>
            </c:extLst>
          </c:dPt>
          <c:dPt>
            <c:idx val="12"/>
            <c:invertIfNegative val="1"/>
            <c:bubble3D val="0"/>
            <c:spPr>
              <a:solidFill>
                <a:srgbClr val="AEABAB"/>
              </a:solidFill>
            </c:spPr>
            <c:extLst>
              <c:ext xmlns:c16="http://schemas.microsoft.com/office/drawing/2014/chart" uri="{C3380CC4-5D6E-409C-BE32-E72D297353CC}">
                <c16:uniqueId val="{00000019-4521-49DF-A3AD-01B14FDCFE2C}"/>
              </c:ext>
            </c:extLst>
          </c:dPt>
          <c:dPt>
            <c:idx val="13"/>
            <c:invertIfNegative val="1"/>
            <c:bubble3D val="0"/>
            <c:spPr>
              <a:solidFill>
                <a:srgbClr val="AEABAB"/>
              </a:solidFill>
            </c:spPr>
            <c:extLst>
              <c:ext xmlns:c16="http://schemas.microsoft.com/office/drawing/2014/chart" uri="{C3380CC4-5D6E-409C-BE32-E72D297353CC}">
                <c16:uniqueId val="{0000001B-4521-49DF-A3AD-01B14FDCFE2C}"/>
              </c:ext>
            </c:extLst>
          </c:dPt>
          <c:dPt>
            <c:idx val="14"/>
            <c:invertIfNegative val="1"/>
            <c:bubble3D val="0"/>
            <c:spPr>
              <a:solidFill>
                <a:srgbClr val="AEABAB"/>
              </a:solidFill>
            </c:spPr>
            <c:extLst>
              <c:ext xmlns:c16="http://schemas.microsoft.com/office/drawing/2014/chart" uri="{C3380CC4-5D6E-409C-BE32-E72D297353CC}">
                <c16:uniqueId val="{0000001D-4521-49DF-A3AD-01B14FDCFE2C}"/>
              </c:ext>
            </c:extLst>
          </c:dPt>
          <c:dPt>
            <c:idx val="15"/>
            <c:invertIfNegative val="1"/>
            <c:bubble3D val="0"/>
            <c:spPr>
              <a:solidFill>
                <a:srgbClr val="AEABAB"/>
              </a:solidFill>
            </c:spPr>
            <c:extLst>
              <c:ext xmlns:c16="http://schemas.microsoft.com/office/drawing/2014/chart" uri="{C3380CC4-5D6E-409C-BE32-E72D297353CC}">
                <c16:uniqueId val="{0000001F-4521-49DF-A3AD-01B14FDCFE2C}"/>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390754223991117</c:v>
                </c:pt>
                <c:pt idx="1">
                  <c:v>0.04968487789555378</c:v>
                </c:pt>
                <c:pt idx="2">
                  <c:v>0.03307801378043895</c:v>
                </c:pt>
                <c:pt idx="3">
                  <c:v>0.035877906130648146</c:v>
                </c:pt>
                <c:pt idx="4">
                  <c:v>0.02459270898825724</c:v>
                </c:pt>
                <c:pt idx="5">
                  <c:v>0.026836925457093576</c:v>
                </c:pt>
                <c:pt idx="6">
                  <c:v>0.023443045285191616</c:v>
                </c:pt>
                <c:pt idx="7">
                  <c:v>0.018139482356950423</c:v>
                </c:pt>
                <c:pt idx="8">
                  <c:v>0.03806187956949667</c:v>
                </c:pt>
                <c:pt idx="9">
                  <c:v>0.035467971083880376</c:v>
                </c:pt>
                <c:pt idx="10">
                  <c:v>0.029485826589802887</c:v>
                </c:pt>
              </c:numCache>
            </c:numRef>
          </c:val>
          <c:extLst>
            <c:ext xmlns:c16="http://schemas.microsoft.com/office/drawing/2014/chart" uri="{C3380CC4-5D6E-409C-BE32-E72D297353CC}">
              <c16:uniqueId val="{00000004-46AD-4608-B607-5E413AFB740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Serum FPS50 3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7ECAC4"/>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7ECAC4"/>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AEABAB"/>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7ECAC4"/>
              </a:solidFill>
            </c:spPr>
            <c:extLst>
              <c:ext xmlns:c16="http://schemas.microsoft.com/office/drawing/2014/chart" uri="{C3380CC4-5D6E-409C-BE32-E72D297353CC}">
                <c16:uniqueId val="{00000087-B572-4DF2-A18B-EB5D630E70B4}"/>
              </c:ext>
            </c:extLst>
          </c:dPt>
          <c:dPt>
            <c:idx val="68"/>
            <c:invertIfNegative val="1"/>
            <c:bubble3D val="0"/>
            <c:spPr>
              <a:solidFill>
                <a:srgbClr val="AEABAB"/>
              </a:solidFill>
            </c:spPr>
            <c:extLst>
              <c:ext xmlns:c16="http://schemas.microsoft.com/office/drawing/2014/chart" uri="{C3380CC4-5D6E-409C-BE32-E72D297353CC}">
                <c16:uniqueId val="{00000089-B572-4DF2-A18B-EB5D630E70B4}"/>
              </c:ext>
            </c:extLst>
          </c:dPt>
          <c:dPt>
            <c:idx val="69"/>
            <c:invertIfNegative val="1"/>
            <c:bubble3D val="0"/>
            <c:spPr>
              <a:solidFill>
                <a:srgbClr val="7ECAC4"/>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AEABAB"/>
              </a:solidFill>
            </c:spPr>
            <c:extLst>
              <c:ext xmlns:c16="http://schemas.microsoft.com/office/drawing/2014/chart" uri="{C3380CC4-5D6E-409C-BE32-E72D297353CC}">
                <c16:uniqueId val="{00000091-B572-4DF2-A18B-EB5D630E70B4}"/>
              </c:ext>
            </c:extLst>
          </c:dPt>
          <c:dPt>
            <c:idx val="73"/>
            <c:invertIfNegative val="1"/>
            <c:bubble3D val="0"/>
            <c:spPr>
              <a:solidFill>
                <a:srgbClr val="7ECAC4"/>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AEABAB"/>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006C6D"/>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r>
                      <a:rPr sz="500">
                        <a:solidFill>
                          <a:srgbClr val="006C6D"/>
                        </a:solidFill>
                      </a:rPr>
                      <a:t>Beautycare Glow Serum FPS50 3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Neutrogena Mineral Ultra Sheer Stick FPS50 42g</c:v>
                </c:pt>
                <c:pt idx="69">
                  <c:v>Banana Boat Advanced Protection Face Fluid FPS50+ 50ml</c:v>
                </c:pt>
                <c:pt idx="70">
                  <c:v>Banana Boat Advanced Protection Sport Roll-on FPS50+ 75ml</c:v>
                </c:pt>
                <c:pt idx="71">
                  <c:v>Beautycare Antioxidant Face Lotion FPS50+ 50ml</c:v>
                </c:pt>
                <c:pt idx="72">
                  <c:v>Vaseline Sunscreen Stick FPS50+ 15g</c:v>
                </c:pt>
                <c:pt idx="73">
                  <c:v>Banana Boat Kids Sport Roll-on FPS50+ 75ml</c:v>
                </c:pt>
                <c:pt idx="74">
                  <c:v>Hawaiian Tropic Mineral Brush FPS30 4.25g</c:v>
                </c:pt>
                <c:pt idx="75">
                  <c:v>Vaseline Tone-up Cream FPS50+ 50ml</c:v>
                </c:pt>
                <c:pt idx="76">
                  <c:v>Vaseline Daily Use FPS50+ 50ml</c:v>
                </c:pt>
                <c:pt idx="77">
                  <c:v>Beautycare Glow Serum FPS50 3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7728095340068</c:v>
                </c:pt>
                <c:pt idx="1">
                  <c:v>0.057750922991732255</c:v>
                </c:pt>
                <c:pt idx="2">
                  <c:v>0.05104818497082952</c:v>
                </c:pt>
                <c:pt idx="3">
                  <c:v>0.04533038628328979</c:v>
                </c:pt>
                <c:pt idx="4">
                  <c:v>0.04357126735301551</c:v>
                </c:pt>
                <c:pt idx="5">
                  <c:v>0.04352153492872563</c:v>
                </c:pt>
                <c:pt idx="6">
                  <c:v>0.03563672216384102</c:v>
                </c:pt>
                <c:pt idx="7">
                  <c:v>0.03118770805341193</c:v>
                </c:pt>
                <c:pt idx="8">
                  <c:v>0.0279659051253563</c:v>
                </c:pt>
                <c:pt idx="9">
                  <c:v>0.027227868997096935</c:v>
                </c:pt>
                <c:pt idx="10">
                  <c:v>0.022708925648279425</c:v>
                </c:pt>
                <c:pt idx="11">
                  <c:v>0.02265223773461695</c:v>
                </c:pt>
                <c:pt idx="12">
                  <c:v>0.02036242503391674</c:v>
                </c:pt>
                <c:pt idx="13">
                  <c:v>0.019434593852225124</c:v>
                </c:pt>
                <c:pt idx="14">
                  <c:v>0.017309623974287494</c:v>
                </c:pt>
                <c:pt idx="15">
                  <c:v>0.017298725854840376</c:v>
                </c:pt>
                <c:pt idx="16">
                  <c:v>0.017136017653726677</c:v>
                </c:pt>
                <c:pt idx="17">
                  <c:v>0.015304390969490057</c:v>
                </c:pt>
                <c:pt idx="18">
                  <c:v>0.014839844748560293</c:v>
                </c:pt>
                <c:pt idx="19">
                  <c:v>0.014656438495701586</c:v>
                </c:pt>
                <c:pt idx="20">
                  <c:v>0.014082015297102405</c:v>
                </c:pt>
                <c:pt idx="21">
                  <c:v>0.013521880795126957</c:v>
                </c:pt>
                <c:pt idx="22">
                  <c:v>0.01246917355201865</c:v>
                </c:pt>
                <c:pt idx="23">
                  <c:v>0.012222237784141207</c:v>
                </c:pt>
                <c:pt idx="24">
                  <c:v>0.012016356444688103</c:v>
                </c:pt>
                <c:pt idx="25">
                  <c:v>0.011992168141999578</c:v>
                </c:pt>
                <c:pt idx="26">
                  <c:v>0.011775209634276505</c:v>
                </c:pt>
                <c:pt idx="27">
                  <c:v>0.010856783460949112</c:v>
                </c:pt>
                <c:pt idx="28">
                  <c:v>0.010560880604101697</c:v>
                </c:pt>
                <c:pt idx="29">
                  <c:v>0.010370404113284657</c:v>
                </c:pt>
                <c:pt idx="30">
                  <c:v>0.009904671431959448</c:v>
                </c:pt>
                <c:pt idx="31">
                  <c:v>0.009889556512391564</c:v>
                </c:pt>
                <c:pt idx="32">
                  <c:v>0.009733733088563167</c:v>
                </c:pt>
                <c:pt idx="33">
                  <c:v>0.009615826248329804</c:v>
                </c:pt>
                <c:pt idx="34">
                  <c:v>0.00929092821414317</c:v>
                </c:pt>
                <c:pt idx="35">
                  <c:v>0.009272022571174016</c:v>
                </c:pt>
                <c:pt idx="36">
                  <c:v>0.009264552255977434</c:v>
                </c:pt>
                <c:pt idx="37">
                  <c:v>0.009255944033751221</c:v>
                </c:pt>
                <c:pt idx="38">
                  <c:v>0.007566594435598649</c:v>
                </c:pt>
                <c:pt idx="39">
                  <c:v>0.007236271638188323</c:v>
                </c:pt>
                <c:pt idx="40">
                  <c:v>0.007031580224896227</c:v>
                </c:pt>
                <c:pt idx="41">
                  <c:v>0.006952320299178153</c:v>
                </c:pt>
                <c:pt idx="42">
                  <c:v>0.006846292298427556</c:v>
                </c:pt>
                <c:pt idx="43">
                  <c:v>0.0066532558733695965</c:v>
                </c:pt>
                <c:pt idx="44">
                  <c:v>0.006584906159164546</c:v>
                </c:pt>
                <c:pt idx="45">
                  <c:v>0.006519451260060797</c:v>
                </c:pt>
                <c:pt idx="46">
                  <c:v>0.006145939114139386</c:v>
                </c:pt>
                <c:pt idx="47">
                  <c:v>0.006060073607638875</c:v>
                </c:pt>
                <c:pt idx="48">
                  <c:v>0.005571967907001866</c:v>
                </c:pt>
                <c:pt idx="49">
                  <c:v>0.005278711607731261</c:v>
                </c:pt>
                <c:pt idx="50">
                  <c:v>0.005238950181476144</c:v>
                </c:pt>
                <c:pt idx="51">
                  <c:v>0.005046240559443748</c:v>
                </c:pt>
                <c:pt idx="52">
                  <c:v>0.004845947115802535</c:v>
                </c:pt>
                <c:pt idx="53">
                  <c:v>0.004818346442684597</c:v>
                </c:pt>
                <c:pt idx="54">
                  <c:v>0.0047200557003717085</c:v>
                </c:pt>
                <c:pt idx="55">
                  <c:v>0.004602915418528596</c:v>
                </c:pt>
                <c:pt idx="56">
                  <c:v>0.004543674889780128</c:v>
                </c:pt>
                <c:pt idx="57">
                  <c:v>0.0041708456179114775</c:v>
                </c:pt>
                <c:pt idx="58">
                  <c:v>0.004114331873657353</c:v>
                </c:pt>
                <c:pt idx="59">
                  <c:v>0.003955707986240675</c:v>
                </c:pt>
                <c:pt idx="60">
                  <c:v>0.003791172708677573</c:v>
                </c:pt>
                <c:pt idx="61">
                  <c:v>0.0036541995738441774</c:v>
                </c:pt>
                <c:pt idx="62">
                  <c:v>0.0034615747102425495</c:v>
                </c:pt>
                <c:pt idx="63">
                  <c:v>0.0030954825505912983</c:v>
                </c:pt>
                <c:pt idx="64">
                  <c:v>0.0030605274391434286</c:v>
                </c:pt>
                <c:pt idx="65">
                  <c:v>0.002791049912401197</c:v>
                </c:pt>
                <c:pt idx="66">
                  <c:v>0.002689544231221006</c:v>
                </c:pt>
                <c:pt idx="67">
                  <c:v>0.0018713692085513569</c:v>
                </c:pt>
                <c:pt idx="68">
                  <c:v>0.0016543063753187367</c:v>
                </c:pt>
                <c:pt idx="69">
                  <c:v>0.0016407605937150069</c:v>
                </c:pt>
                <c:pt idx="70">
                  <c:v>0.0015100055341609085</c:v>
                </c:pt>
                <c:pt idx="71">
                  <c:v>0.0014967456268917237</c:v>
                </c:pt>
                <c:pt idx="72">
                  <c:v>0.0012951208662752513</c:v>
                </c:pt>
                <c:pt idx="73">
                  <c:v>0.0012343669819561284</c:v>
                </c:pt>
                <c:pt idx="74">
                  <c:v>0.0011572528655326424</c:v>
                </c:pt>
                <c:pt idx="75">
                  <c:v>0.0011246342779003102</c:v>
                </c:pt>
                <c:pt idx="76">
                  <c:v>0.0010849884856173584</c:v>
                </c:pt>
                <c:pt idx="77">
                  <c:v>0.0010082753009693288</c:v>
                </c:pt>
                <c:pt idx="78">
                  <c:v>0.0009206500463118775</c:v>
                </c:pt>
                <c:pt idx="79">
                  <c:v>0.0007173678090859614</c:v>
                </c:pt>
                <c:pt idx="80">
                  <c:v>0.0006208747199772942</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Dry Balance Sport Aerosol FPS50+ 200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4CF6-426D-AECF-CFB74E12454F}"/>
              </c:ext>
            </c:extLst>
          </c:dPt>
          <c:dPt>
            <c:idx val="1"/>
            <c:invertIfNegative val="1"/>
            <c:bubble3D val="0"/>
            <c:spPr>
              <a:solidFill>
                <a:srgbClr val="AEABAB"/>
              </a:solidFill>
            </c:spPr>
            <c:extLst>
              <c:ext xmlns:c16="http://schemas.microsoft.com/office/drawing/2014/chart" uri="{C3380CC4-5D6E-409C-BE32-E72D297353CC}">
                <c16:uniqueId val="{00000003-4CF6-426D-AECF-CFB74E12454F}"/>
              </c:ext>
            </c:extLst>
          </c:dPt>
          <c:dPt>
            <c:idx val="2"/>
            <c:invertIfNegative val="1"/>
            <c:bubble3D val="0"/>
            <c:spPr>
              <a:solidFill>
                <a:srgbClr val="AEABAB"/>
              </a:solidFill>
            </c:spPr>
            <c:extLst>
              <c:ext xmlns:c16="http://schemas.microsoft.com/office/drawing/2014/chart" uri="{C3380CC4-5D6E-409C-BE32-E72D297353CC}">
                <c16:uniqueId val="{00000005-4CF6-426D-AECF-CFB74E12454F}"/>
              </c:ext>
            </c:extLst>
          </c:dPt>
          <c:dPt>
            <c:idx val="3"/>
            <c:invertIfNegative val="1"/>
            <c:bubble3D val="0"/>
            <c:spPr>
              <a:solidFill>
                <a:srgbClr val="AEABAB"/>
              </a:solidFill>
            </c:spPr>
            <c:extLst>
              <c:ext xmlns:c16="http://schemas.microsoft.com/office/drawing/2014/chart" uri="{C3380CC4-5D6E-409C-BE32-E72D297353CC}">
                <c16:uniqueId val="{00000007-4CF6-426D-AECF-CFB74E12454F}"/>
              </c:ext>
            </c:extLst>
          </c:dPt>
          <c:dPt>
            <c:idx val="4"/>
            <c:invertIfNegative val="1"/>
            <c:bubble3D val="0"/>
            <c:spPr>
              <a:solidFill>
                <a:srgbClr val="AEABAB"/>
              </a:solidFill>
            </c:spPr>
            <c:extLst>
              <c:ext xmlns:c16="http://schemas.microsoft.com/office/drawing/2014/chart" uri="{C3380CC4-5D6E-409C-BE32-E72D297353CC}">
                <c16:uniqueId val="{00000009-4CF6-426D-AECF-CFB74E12454F}"/>
              </c:ext>
            </c:extLst>
          </c:dPt>
          <c:dPt>
            <c:idx val="5"/>
            <c:invertIfNegative val="1"/>
            <c:bubble3D val="0"/>
            <c:spPr>
              <a:solidFill>
                <a:srgbClr val="AEABAB"/>
              </a:solidFill>
            </c:spPr>
            <c:extLst>
              <c:ext xmlns:c16="http://schemas.microsoft.com/office/drawing/2014/chart" uri="{C3380CC4-5D6E-409C-BE32-E72D297353CC}">
                <c16:uniqueId val="{0000000B-4CF6-426D-AECF-CFB74E12454F}"/>
              </c:ext>
            </c:extLst>
          </c:dPt>
          <c:dPt>
            <c:idx val="6"/>
            <c:invertIfNegative val="1"/>
            <c:bubble3D val="0"/>
            <c:spPr>
              <a:solidFill>
                <a:srgbClr val="AEABAB"/>
              </a:solidFill>
            </c:spPr>
            <c:extLst>
              <c:ext xmlns:c16="http://schemas.microsoft.com/office/drawing/2014/chart" uri="{C3380CC4-5D6E-409C-BE32-E72D297353CC}">
                <c16:uniqueId val="{0000000D-4CF6-426D-AECF-CFB74E12454F}"/>
              </c:ext>
            </c:extLst>
          </c:dPt>
          <c:dPt>
            <c:idx val="7"/>
            <c:invertIfNegative val="1"/>
            <c:bubble3D val="0"/>
            <c:spPr>
              <a:solidFill>
                <a:srgbClr val="AEABAB"/>
              </a:solidFill>
            </c:spPr>
            <c:extLst>
              <c:ext xmlns:c16="http://schemas.microsoft.com/office/drawing/2014/chart" uri="{C3380CC4-5D6E-409C-BE32-E72D297353CC}">
                <c16:uniqueId val="{00000000-2DEF-4275-BB7F-2A2402E29FCF}"/>
              </c:ext>
            </c:extLst>
          </c:dPt>
          <c:dPt>
            <c:idx val="8"/>
            <c:invertIfNegative val="1"/>
            <c:bubble3D val="0"/>
            <c:spPr>
              <a:solidFill>
                <a:srgbClr val="AEABAB"/>
              </a:solidFill>
            </c:spPr>
            <c:extLst>
              <c:ext xmlns:c16="http://schemas.microsoft.com/office/drawing/2014/chart" uri="{C3380CC4-5D6E-409C-BE32-E72D297353CC}">
                <c16:uniqueId val="{00000001-2DEF-4275-BB7F-2A2402E29FCF}"/>
              </c:ext>
            </c:extLst>
          </c:dPt>
          <c:dPt>
            <c:idx val="9"/>
            <c:invertIfNegative val="1"/>
            <c:bubble3D val="0"/>
            <c:spPr>
              <a:solidFill>
                <a:srgbClr val="AEABAB"/>
              </a:solidFill>
            </c:spPr>
            <c:extLst>
              <c:ext xmlns:c16="http://schemas.microsoft.com/office/drawing/2014/chart" uri="{C3380CC4-5D6E-409C-BE32-E72D297353CC}">
                <c16:uniqueId val="{00000002-2DEF-4275-BB7F-2A2402E29FCF}"/>
              </c:ext>
            </c:extLst>
          </c:dPt>
          <c:dPt>
            <c:idx val="10"/>
            <c:invertIfNegative val="1"/>
            <c:bubble3D val="0"/>
            <c:spPr>
              <a:solidFill>
                <a:srgbClr val="AEABAB"/>
              </a:solidFill>
            </c:spPr>
            <c:extLst>
              <c:ext xmlns:c16="http://schemas.microsoft.com/office/drawing/2014/chart" uri="{C3380CC4-5D6E-409C-BE32-E72D297353CC}">
                <c16:uniqueId val="{00000003-2DEF-4275-BB7F-2A2402E29FCF}"/>
              </c:ext>
            </c:extLst>
          </c:dPt>
          <c:dPt>
            <c:idx val="11"/>
            <c:invertIfNegative val="1"/>
            <c:bubble3D val="0"/>
            <c:spPr>
              <a:solidFill>
                <a:srgbClr val="AEABAB"/>
              </a:solidFill>
            </c:spPr>
            <c:extLst>
              <c:ext xmlns:c16="http://schemas.microsoft.com/office/drawing/2014/chart" uri="{C3380CC4-5D6E-409C-BE32-E72D297353CC}">
                <c16:uniqueId val="{00000017-4CF6-426D-AECF-CFB74E12454F}"/>
              </c:ext>
            </c:extLst>
          </c:dPt>
          <c:dPt>
            <c:idx val="12"/>
            <c:invertIfNegative val="1"/>
            <c:bubble3D val="0"/>
            <c:spPr>
              <a:solidFill>
                <a:srgbClr val="AEABAB"/>
              </a:solidFill>
            </c:spPr>
            <c:extLst>
              <c:ext xmlns:c16="http://schemas.microsoft.com/office/drawing/2014/chart" uri="{C3380CC4-5D6E-409C-BE32-E72D297353CC}">
                <c16:uniqueId val="{00000019-4CF6-426D-AECF-CFB74E12454F}"/>
              </c:ext>
            </c:extLst>
          </c:dPt>
          <c:dPt>
            <c:idx val="13"/>
            <c:invertIfNegative val="1"/>
            <c:bubble3D val="0"/>
            <c:spPr>
              <a:solidFill>
                <a:srgbClr val="AEABAB"/>
              </a:solidFill>
            </c:spPr>
            <c:extLst>
              <c:ext xmlns:c16="http://schemas.microsoft.com/office/drawing/2014/chart" uri="{C3380CC4-5D6E-409C-BE32-E72D297353CC}">
                <c16:uniqueId val="{0000001B-4CF6-426D-AECF-CFB74E12454F}"/>
              </c:ext>
            </c:extLst>
          </c:dPt>
          <c:dPt>
            <c:idx val="14"/>
            <c:invertIfNegative val="1"/>
            <c:bubble3D val="0"/>
            <c:spPr>
              <a:solidFill>
                <a:srgbClr val="AEABAB"/>
              </a:solidFill>
            </c:spPr>
            <c:extLst>
              <c:ext xmlns:c16="http://schemas.microsoft.com/office/drawing/2014/chart" uri="{C3380CC4-5D6E-409C-BE32-E72D297353CC}">
                <c16:uniqueId val="{0000001D-4CF6-426D-AECF-CFB74E12454F}"/>
              </c:ext>
            </c:extLst>
          </c:dPt>
          <c:dPt>
            <c:idx val="15"/>
            <c:invertIfNegative val="1"/>
            <c:bubble3D val="0"/>
            <c:spPr>
              <a:solidFill>
                <a:srgbClr val="AEABAB"/>
              </a:solidFill>
            </c:spPr>
            <c:extLst>
              <c:ext xmlns:c16="http://schemas.microsoft.com/office/drawing/2014/chart" uri="{C3380CC4-5D6E-409C-BE32-E72D297353CC}">
                <c16:uniqueId val="{0000001F-4CF6-426D-AECF-CFB74E12454F}"/>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7225226664288081</c:v>
                </c:pt>
                <c:pt idx="1">
                  <c:v>0.06958423171826103</c:v>
                </c:pt>
                <c:pt idx="2">
                  <c:v>0.05068031315160658</c:v>
                </c:pt>
                <c:pt idx="3">
                  <c:v>0.05554287917206508</c:v>
                </c:pt>
                <c:pt idx="4">
                  <c:v>0.0414841540001289</c:v>
                </c:pt>
                <c:pt idx="5">
                  <c:v>0.035251917013679475</c:v>
                </c:pt>
                <c:pt idx="6">
                  <c:v>0.03336313964138249</c:v>
                </c:pt>
                <c:pt idx="7">
                  <c:v>0.026358060175070988</c:v>
                </c:pt>
                <c:pt idx="8">
                  <c:v>0.03986026682328372</c:v>
                </c:pt>
                <c:pt idx="9">
                  <c:v>0.027744818697446754</c:v>
                </c:pt>
                <c:pt idx="10">
                  <c:v>0.02584662188342683</c:v>
                </c:pt>
              </c:numCache>
            </c:numRef>
          </c:val>
          <c:extLst>
            <c:ext xmlns:c16="http://schemas.microsoft.com/office/drawing/2014/chart" uri="{C3380CC4-5D6E-409C-BE32-E72D297353CC}">
              <c16:uniqueId val="{00000004-2DEF-4275-BB7F-2A2402E29FCF}"/>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814478263789278E-2"/>
          <c:y val="0"/>
          <c:w val="0.96518562554386689"/>
          <c:h val="1"/>
        </c:manualLayout>
      </c:layout>
      <c:barChart>
        <c:barDir val="bar"/>
        <c:grouping val="clustered"/>
        <c:varyColors val="0"/>
        <c:ser>
          <c:idx val="2"/>
          <c:order val="0"/>
          <c:tx>
            <c:strRef>
              <c:f>Sheet1!$B$1</c:f>
              <c:strCache>
                <c:ptCount val="1"/>
                <c:pt idx="0">
                  <c:v>Banana Boat Sport Lotion FPS50+ 354ml</c:v>
                </c:pt>
              </c:strCache>
            </c:strRef>
          </c:tx>
          <c:spPr>
            <a:solidFill>
              <a:srgbClr val="AEABAB"/>
            </a:solidFill>
            <a:ln w="9525" cap="flat" cmpd="sng" algn="ctr">
              <a:noFill/>
              <a:round/>
            </a:ln>
            <a:effectLst/>
          </c:spPr>
          <c:invertIfNegative val="0"/>
          <c:dPt>
            <c:idx val="0"/>
            <c:invertIfNegative val="1"/>
            <c:bubble3D val="0"/>
            <c:spPr>
              <a:solidFill>
                <a:srgbClr val="AEABAB"/>
              </a:solidFill>
            </c:spPr>
            <c:extLst>
              <c:ext xmlns:c16="http://schemas.microsoft.com/office/drawing/2014/chart" uri="{C3380CC4-5D6E-409C-BE32-E72D297353CC}">
                <c16:uniqueId val="{00000001-E4D7-4CB3-9344-2F66B04EE15D}"/>
              </c:ext>
            </c:extLst>
          </c:dPt>
          <c:dPt>
            <c:idx val="1"/>
            <c:invertIfNegative val="1"/>
            <c:bubble3D val="0"/>
            <c:spPr>
              <a:solidFill>
                <a:srgbClr val="AEABAB"/>
              </a:solidFill>
            </c:spPr>
            <c:extLst>
              <c:ext xmlns:c16="http://schemas.microsoft.com/office/drawing/2014/chart" uri="{C3380CC4-5D6E-409C-BE32-E72D297353CC}">
                <c16:uniqueId val="{00000003-E4D7-4CB3-9344-2F66B04EE15D}"/>
              </c:ext>
            </c:extLst>
          </c:dPt>
          <c:dPt>
            <c:idx val="2"/>
            <c:invertIfNegative val="1"/>
            <c:bubble3D val="0"/>
            <c:spPr>
              <a:solidFill>
                <a:srgbClr val="AEABAB"/>
              </a:solidFill>
            </c:spPr>
            <c:extLst>
              <c:ext xmlns:c16="http://schemas.microsoft.com/office/drawing/2014/chart" uri="{C3380CC4-5D6E-409C-BE32-E72D297353CC}">
                <c16:uniqueId val="{00000005-E4D7-4CB3-9344-2F66B04EE15D}"/>
              </c:ext>
            </c:extLst>
          </c:dPt>
          <c:dPt>
            <c:idx val="3"/>
            <c:invertIfNegative val="1"/>
            <c:bubble3D val="0"/>
            <c:spPr>
              <a:solidFill>
                <a:srgbClr val="AEABAB"/>
              </a:solidFill>
            </c:spPr>
            <c:extLst>
              <c:ext xmlns:c16="http://schemas.microsoft.com/office/drawing/2014/chart" uri="{C3380CC4-5D6E-409C-BE32-E72D297353CC}">
                <c16:uniqueId val="{00000007-E4D7-4CB3-9344-2F66B04EE15D}"/>
              </c:ext>
            </c:extLst>
          </c:dPt>
          <c:dPt>
            <c:idx val="4"/>
            <c:invertIfNegative val="1"/>
            <c:bubble3D val="0"/>
            <c:spPr>
              <a:solidFill>
                <a:srgbClr val="AEABAB"/>
              </a:solidFill>
            </c:spPr>
            <c:extLst>
              <c:ext xmlns:c16="http://schemas.microsoft.com/office/drawing/2014/chart" uri="{C3380CC4-5D6E-409C-BE32-E72D297353CC}">
                <c16:uniqueId val="{00000009-E4D7-4CB3-9344-2F66B04EE15D}"/>
              </c:ext>
            </c:extLst>
          </c:dPt>
          <c:dPt>
            <c:idx val="5"/>
            <c:invertIfNegative val="1"/>
            <c:bubble3D val="0"/>
            <c:spPr>
              <a:solidFill>
                <a:srgbClr val="AEABAB"/>
              </a:solidFill>
            </c:spPr>
            <c:extLst>
              <c:ext xmlns:c16="http://schemas.microsoft.com/office/drawing/2014/chart" uri="{C3380CC4-5D6E-409C-BE32-E72D297353CC}">
                <c16:uniqueId val="{0000000B-E4D7-4CB3-9344-2F66B04EE15D}"/>
              </c:ext>
            </c:extLst>
          </c:dPt>
          <c:dPt>
            <c:idx val="6"/>
            <c:invertIfNegative val="1"/>
            <c:bubble3D val="0"/>
            <c:spPr>
              <a:solidFill>
                <a:srgbClr val="AEABAB"/>
              </a:solidFill>
            </c:spPr>
            <c:extLst>
              <c:ext xmlns:c16="http://schemas.microsoft.com/office/drawing/2014/chart" uri="{C3380CC4-5D6E-409C-BE32-E72D297353CC}">
                <c16:uniqueId val="{0000000D-E4D7-4CB3-9344-2F66B04EE15D}"/>
              </c:ext>
            </c:extLst>
          </c:dPt>
          <c:dPt>
            <c:idx val="7"/>
            <c:invertIfNegative val="1"/>
            <c:bubble3D val="0"/>
            <c:spPr>
              <a:solidFill>
                <a:srgbClr val="AEABAB"/>
              </a:solidFill>
            </c:spPr>
            <c:extLst>
              <c:ext xmlns:c16="http://schemas.microsoft.com/office/drawing/2014/chart" uri="{C3380CC4-5D6E-409C-BE32-E72D297353CC}">
                <c16:uniqueId val="{0000000F-E4D7-4CB3-9344-2F66B04EE15D}"/>
              </c:ext>
            </c:extLst>
          </c:dPt>
          <c:dPt>
            <c:idx val="8"/>
            <c:invertIfNegative val="1"/>
            <c:bubble3D val="0"/>
            <c:spPr>
              <a:solidFill>
                <a:srgbClr val="AEABAB"/>
              </a:solidFill>
            </c:spPr>
            <c:extLst>
              <c:ext xmlns:c16="http://schemas.microsoft.com/office/drawing/2014/chart" uri="{C3380CC4-5D6E-409C-BE32-E72D297353CC}">
                <c16:uniqueId val="{00000011-E4D7-4CB3-9344-2F66B04EE15D}"/>
              </c:ext>
            </c:extLst>
          </c:dPt>
          <c:dPt>
            <c:idx val="9"/>
            <c:invertIfNegative val="1"/>
            <c:bubble3D val="0"/>
            <c:spPr>
              <a:solidFill>
                <a:srgbClr val="AEABAB"/>
              </a:solidFill>
            </c:spPr>
            <c:extLst>
              <c:ext xmlns:c16="http://schemas.microsoft.com/office/drawing/2014/chart" uri="{C3380CC4-5D6E-409C-BE32-E72D297353CC}">
                <c16:uniqueId val="{00000013-E4D7-4CB3-9344-2F66B04EE15D}"/>
              </c:ext>
            </c:extLst>
          </c:dPt>
          <c:dPt>
            <c:idx val="10"/>
            <c:invertIfNegative val="1"/>
            <c:bubble3D val="0"/>
            <c:spPr>
              <a:solidFill>
                <a:srgbClr val="AEABAB"/>
              </a:solidFill>
            </c:spPr>
            <c:extLst>
              <c:ext xmlns:c16="http://schemas.microsoft.com/office/drawing/2014/chart" uri="{C3380CC4-5D6E-409C-BE32-E72D297353CC}">
                <c16:uniqueId val="{00000015-E4D7-4CB3-9344-2F66B04EE15D}"/>
              </c:ext>
            </c:extLst>
          </c:dPt>
          <c:dPt>
            <c:idx val="11"/>
            <c:invertIfNegative val="1"/>
            <c:bubble3D val="0"/>
            <c:spPr>
              <a:solidFill>
                <a:srgbClr val="AEABAB"/>
              </a:solidFill>
            </c:spPr>
            <c:extLst>
              <c:ext xmlns:c16="http://schemas.microsoft.com/office/drawing/2014/chart" uri="{C3380CC4-5D6E-409C-BE32-E72D297353CC}">
                <c16:uniqueId val="{00000017-E4D7-4CB3-9344-2F66B04EE15D}"/>
              </c:ext>
            </c:extLst>
          </c:dPt>
          <c:dPt>
            <c:idx val="12"/>
            <c:invertIfNegative val="1"/>
            <c:bubble3D val="0"/>
            <c:spPr>
              <a:solidFill>
                <a:srgbClr val="AEABAB"/>
              </a:solidFill>
            </c:spPr>
            <c:extLst>
              <c:ext xmlns:c16="http://schemas.microsoft.com/office/drawing/2014/chart" uri="{C3380CC4-5D6E-409C-BE32-E72D297353CC}">
                <c16:uniqueId val="{00000019-E4D7-4CB3-9344-2F66B04EE15D}"/>
              </c:ext>
            </c:extLst>
          </c:dPt>
          <c:dPt>
            <c:idx val="13"/>
            <c:invertIfNegative val="1"/>
            <c:bubble3D val="0"/>
            <c:spPr>
              <a:solidFill>
                <a:srgbClr val="AEABAB"/>
              </a:solidFill>
            </c:spPr>
            <c:extLst>
              <c:ext xmlns:c16="http://schemas.microsoft.com/office/drawing/2014/chart" uri="{C3380CC4-5D6E-409C-BE32-E72D297353CC}">
                <c16:uniqueId val="{0000001B-E4D7-4CB3-9344-2F66B04EE15D}"/>
              </c:ext>
            </c:extLst>
          </c:dPt>
          <c:dPt>
            <c:idx val="14"/>
            <c:invertIfNegative val="1"/>
            <c:bubble3D val="0"/>
            <c:spPr>
              <a:solidFill>
                <a:srgbClr val="AEABAB"/>
              </a:solidFill>
            </c:spPr>
            <c:extLst>
              <c:ext xmlns:c16="http://schemas.microsoft.com/office/drawing/2014/chart" uri="{C3380CC4-5D6E-409C-BE32-E72D297353CC}">
                <c16:uniqueId val="{0000001D-E4D7-4CB3-9344-2F66B04EE15D}"/>
              </c:ext>
            </c:extLst>
          </c:dPt>
          <c:dPt>
            <c:idx val="15"/>
            <c:invertIfNegative val="1"/>
            <c:bubble3D val="0"/>
            <c:spPr>
              <a:solidFill>
                <a:srgbClr val="AEABAB"/>
              </a:solidFill>
            </c:spPr>
            <c:extLst>
              <c:ext xmlns:c16="http://schemas.microsoft.com/office/drawing/2014/chart" uri="{C3380CC4-5D6E-409C-BE32-E72D297353CC}">
                <c16:uniqueId val="{0000001F-E4D7-4CB3-9344-2F66B04EE15D}"/>
              </c:ext>
            </c:extLst>
          </c:dPt>
          <c:dLbls>
            <c:numFmt formatCode="0.0%" sourceLinked="0"/>
            <c:spPr>
              <a:noFill/>
              <a:ln>
                <a:noFill/>
              </a:ln>
              <a:effectLst/>
            </c:spPr>
            <c:txPr>
              <a:bodyPr rot="0" spcFirstLastPara="1" vertOverflow="ellipsis" vert="horz" wrap="none" anchor="ctr" anchorCtr="1">
                <a:spAutoFit/>
              </a:bodyPr>
              <a:lstStyle/>
              <a:p>
                <a:pPr>
                  <a:defRPr sz="800" b="0" i="0" u="none" strike="noStrike" kern="1200" baseline="0">
                    <a:solidFill>
                      <a:schemeClr val="tx2"/>
                    </a:solidFill>
                    <a:latin typeface="Nexa Book" panose="00000400000000000000" pitchFamily="2" charset="0"/>
                    <a:ea typeface="Open Sans" panose="020B0606030504020204" pitchFamily="34" charset="0"/>
                    <a:cs typeface="Open Sans" panose="020B0606030504020204" pitchFamily="34" charset="0"/>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2</c:f>
              <c:strCache>
                <c:ptCount val="11"/>
                <c:pt idx="0">
                  <c:v>Nivea Sun Protect &amp; Refresh Sport Lotion FPS50 200ml</c:v>
                </c:pt>
                <c:pt idx="1">
                  <c:v>Nivea Sun Protection &amp; Hydration Cream FPS50+ 200ml</c:v>
                </c:pt>
                <c:pt idx="2">
                  <c:v>Hawaiian Tropic Ozono Lotion FPS50+ 240ml</c:v>
                </c:pt>
                <c:pt idx="3">
                  <c:v>Banana Boat Aqua Protect Sport Lotion FPS50+ 236ml</c:v>
                </c:pt>
                <c:pt idx="4">
                  <c:v>Hawaiian Tropic Sheer Touch Lotion FPS50+ 240ml</c:v>
                </c:pt>
                <c:pt idx="5">
                  <c:v>Hawaiian Tropic Island Sport Lotion FPS50 240ml</c:v>
                </c:pt>
                <c:pt idx="6">
                  <c:v>Nivea Sun Protection Sensitive Skin Gel FPS50+ 200ml</c:v>
                </c:pt>
                <c:pt idx="7">
                  <c:v>Banana Boat Aqua Protect Cream FPS50+ 236ml</c:v>
                </c:pt>
                <c:pt idx="8">
                  <c:v>Banana Boat Dry Balance Sport Spray FPS50 170ml</c:v>
                </c:pt>
                <c:pt idx="9">
                  <c:v>Nivea Sun Protect &amp; Refresh Sport Spray FPS50 200ml</c:v>
                </c:pt>
                <c:pt idx="10">
                  <c:v>Nivea Sun Protection &amp; Hydration Lotion FPS50+ 125ml</c:v>
                </c:pt>
              </c:strCache>
            </c:strRef>
          </c:cat>
          <c:val>
            <c:numRef>
              <c:f>Sheet1!$B$2:$B$12</c:f>
              <c:numCache>
                <c:formatCode>General</c:formatCode>
                <c:ptCount val="11"/>
                <c:pt idx="0">
                  <c:v>0.05516929684891553</c:v>
                </c:pt>
                <c:pt idx="1">
                  <c:v>0.07853183352883651</c:v>
                </c:pt>
                <c:pt idx="2">
                  <c:v>0.06521474717400834</c:v>
                </c:pt>
                <c:pt idx="3">
                  <c:v>0.04528168510008819</c:v>
                </c:pt>
                <c:pt idx="4">
                  <c:v>0.07787097735874846</c:v>
                </c:pt>
                <c:pt idx="5">
                  <c:v>0.07402676503701981</c:v>
                </c:pt>
                <c:pt idx="6">
                  <c:v>0.04368015591235078</c:v>
                </c:pt>
                <c:pt idx="7">
                  <c:v>0.04742944349741432</c:v>
                </c:pt>
                <c:pt idx="8">
                  <c:v>0.01232836445492227</c:v>
                </c:pt>
                <c:pt idx="9">
                  <c:v>0.025980977685511678</c:v>
                </c:pt>
                <c:pt idx="10">
                  <c:v>0.03123744597196455</c:v>
                </c:pt>
              </c:numCache>
            </c:numRef>
          </c:val>
          <c:extLst>
            <c:ext xmlns:c16="http://schemas.microsoft.com/office/drawing/2014/chart" uri="{C3380CC4-5D6E-409C-BE32-E72D297353CC}">
              <c16:uniqueId val="{00000020-E4D7-4CB3-9344-2F66B04EE15D}"/>
            </c:ext>
          </c:extLst>
        </c:ser>
        <c:dLbls>
          <c:dLblPos val="in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in val="0"/>
        </c:scaling>
        <c:delete val="1"/>
        <c:axPos val="t"/>
        <c:numFmt formatCode="General" sourceLinked="1"/>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tx2"/>
          </a:solidFill>
          <a:latin typeface="Nexa Light" panose="02000000000000000000" pitchFamily="2" charset="0"/>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Pro Age Color Face Fluid FPS50+ 5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02D-4251-AC41-C6D4CBCA5CD6}"/>
              </c:ext>
            </c:extLst>
          </c:dPt>
          <c:dPt>
            <c:idx val="1"/>
            <c:invertIfNegative val="1"/>
            <c:bubble3D val="0"/>
            <c:spPr>
              <a:solidFill>
                <a:srgbClr val="AEABAB"/>
              </a:solidFill>
            </c:spPr>
            <c:extLst>
              <c:ext xmlns:c16="http://schemas.microsoft.com/office/drawing/2014/chart" uri="{C3380CC4-5D6E-409C-BE32-E72D297353CC}">
                <c16:uniqueId val="{00000003-902D-4251-AC41-C6D4CBCA5CD6}"/>
              </c:ext>
            </c:extLst>
          </c:dPt>
          <c:dPt>
            <c:idx val="2"/>
            <c:invertIfNegative val="1"/>
            <c:bubble3D val="0"/>
            <c:spPr>
              <a:solidFill>
                <a:srgbClr val="AEABAB"/>
              </a:solidFill>
            </c:spPr>
            <c:extLst>
              <c:ext xmlns:c16="http://schemas.microsoft.com/office/drawing/2014/chart" uri="{C3380CC4-5D6E-409C-BE32-E72D297353CC}">
                <c16:uniqueId val="{00000005-902D-4251-AC41-C6D4CBCA5CD6}"/>
              </c:ext>
            </c:extLst>
          </c:dPt>
          <c:dPt>
            <c:idx val="3"/>
            <c:invertIfNegative val="0"/>
            <c:bubble3D val="0"/>
            <c:extLst>
              <c:ext xmlns:c16="http://schemas.microsoft.com/office/drawing/2014/chart" uri="{C3380CC4-5D6E-409C-BE32-E72D297353CC}">
                <c16:uniqueId val="{00000007-902D-4251-AC41-C6D4CBCA5CD6}"/>
              </c:ext>
            </c:extLst>
          </c:dPt>
          <c:dPt>
            <c:idx val="4"/>
            <c:invertIfNegative val="1"/>
            <c:bubble3D val="0"/>
            <c:spPr>
              <a:solidFill>
                <a:srgbClr val="7ECAC4"/>
              </a:solidFill>
            </c:spPr>
            <c:extLst>
              <c:ext xmlns:c16="http://schemas.microsoft.com/office/drawing/2014/chart" uri="{C3380CC4-5D6E-409C-BE32-E72D297353CC}">
                <c16:uniqueId val="{00000009-902D-4251-AC41-C6D4CBCA5CD6}"/>
              </c:ext>
            </c:extLst>
          </c:dPt>
          <c:dPt>
            <c:idx val="5"/>
            <c:invertIfNegative val="1"/>
            <c:bubble3D val="0"/>
            <c:spPr>
              <a:solidFill>
                <a:srgbClr val="7ECAC4"/>
              </a:solidFill>
            </c:spPr>
            <c:extLst>
              <c:ext xmlns:c16="http://schemas.microsoft.com/office/drawing/2014/chart" uri="{C3380CC4-5D6E-409C-BE32-E72D297353CC}">
                <c16:uniqueId val="{0000000B-902D-4251-AC41-C6D4CBCA5CD6}"/>
              </c:ext>
            </c:extLst>
          </c:dPt>
          <c:dPt>
            <c:idx val="6"/>
            <c:invertIfNegative val="1"/>
            <c:bubble3D val="0"/>
            <c:spPr>
              <a:solidFill>
                <a:srgbClr val="7ECAC4"/>
              </a:solidFill>
            </c:spPr>
            <c:extLst>
              <c:ext xmlns:c16="http://schemas.microsoft.com/office/drawing/2014/chart" uri="{C3380CC4-5D6E-409C-BE32-E72D297353CC}">
                <c16:uniqueId val="{0000000D-902D-4251-AC41-C6D4CBCA5CD6}"/>
              </c:ext>
            </c:extLst>
          </c:dPt>
          <c:dPt>
            <c:idx val="7"/>
            <c:invertIfNegative val="1"/>
            <c:bubble3D val="0"/>
            <c:spPr>
              <a:solidFill>
                <a:srgbClr val="7ECAC4"/>
              </a:solidFill>
            </c:spPr>
            <c:extLst>
              <c:ext xmlns:c16="http://schemas.microsoft.com/office/drawing/2014/chart" uri="{C3380CC4-5D6E-409C-BE32-E72D297353CC}">
                <c16:uniqueId val="{0000000F-902D-4251-AC41-C6D4CBCA5CD6}"/>
              </c:ext>
            </c:extLst>
          </c:dPt>
          <c:dPt>
            <c:idx val="8"/>
            <c:invertIfNegative val="1"/>
            <c:bubble3D val="0"/>
            <c:spPr>
              <a:solidFill>
                <a:srgbClr val="7ECAC4"/>
              </a:solidFill>
            </c:spPr>
            <c:extLst>
              <c:ext xmlns:c16="http://schemas.microsoft.com/office/drawing/2014/chart" uri="{C3380CC4-5D6E-409C-BE32-E72D297353CC}">
                <c16:uniqueId val="{00000011-902D-4251-AC41-C6D4CBCA5CD6}"/>
              </c:ext>
            </c:extLst>
          </c:dPt>
          <c:dPt>
            <c:idx val="9"/>
            <c:invertIfNegative val="1"/>
            <c:bubble3D val="0"/>
            <c:spPr>
              <a:solidFill>
                <a:srgbClr val="7ECAC4"/>
              </a:solidFill>
            </c:spPr>
            <c:extLst>
              <c:ext xmlns:c16="http://schemas.microsoft.com/office/drawing/2014/chart" uri="{C3380CC4-5D6E-409C-BE32-E72D297353CC}">
                <c16:uniqueId val="{00000013-902D-4251-AC41-C6D4CBCA5CD6}"/>
              </c:ext>
            </c:extLst>
          </c:dPt>
          <c:dPt>
            <c:idx val="10"/>
            <c:invertIfNegative val="1"/>
            <c:bubble3D val="0"/>
            <c:spPr>
              <a:solidFill>
                <a:srgbClr val="AEABAB"/>
              </a:solidFill>
            </c:spPr>
            <c:extLst>
              <c:ext xmlns:c16="http://schemas.microsoft.com/office/drawing/2014/chart" uri="{C3380CC4-5D6E-409C-BE32-E72D297353CC}">
                <c16:uniqueId val="{00000015-902D-4251-AC41-C6D4CBCA5CD6}"/>
              </c:ext>
            </c:extLst>
          </c:dPt>
          <c:dPt>
            <c:idx val="11"/>
            <c:invertIfNegative val="1"/>
            <c:bubble3D val="0"/>
            <c:spPr>
              <a:solidFill>
                <a:srgbClr val="AEABAB"/>
              </a:solidFill>
            </c:spPr>
            <c:extLst>
              <c:ext xmlns:c16="http://schemas.microsoft.com/office/drawing/2014/chart" uri="{C3380CC4-5D6E-409C-BE32-E72D297353CC}">
                <c16:uniqueId val="{00000017-902D-4251-AC41-C6D4CBCA5CD6}"/>
              </c:ext>
            </c:extLst>
          </c:dPt>
          <c:dPt>
            <c:idx val="12"/>
            <c:invertIfNegative val="1"/>
            <c:bubble3D val="0"/>
            <c:spPr>
              <a:solidFill>
                <a:srgbClr val="AEABAB"/>
              </a:solidFill>
            </c:spPr>
            <c:extLst>
              <c:ext xmlns:c16="http://schemas.microsoft.com/office/drawing/2014/chart" uri="{C3380CC4-5D6E-409C-BE32-E72D297353CC}">
                <c16:uniqueId val="{00000019-902D-4251-AC41-C6D4CBCA5CD6}"/>
              </c:ext>
            </c:extLst>
          </c:dPt>
          <c:dPt>
            <c:idx val="13"/>
            <c:invertIfNegative val="1"/>
            <c:bubble3D val="0"/>
            <c:spPr>
              <a:solidFill>
                <a:srgbClr val="7ECAC4"/>
              </a:solidFill>
            </c:spPr>
            <c:extLst>
              <c:ext xmlns:c16="http://schemas.microsoft.com/office/drawing/2014/chart" uri="{C3380CC4-5D6E-409C-BE32-E72D297353CC}">
                <c16:uniqueId val="{0000001B-902D-4251-AC41-C6D4CBCA5CD6}"/>
              </c:ext>
            </c:extLst>
          </c:dPt>
          <c:dPt>
            <c:idx val="14"/>
            <c:invertIfNegative val="0"/>
            <c:bubble3D val="0"/>
            <c:spPr>
              <a:solidFill>
                <a:srgbClr val="7ECAC4"/>
              </a:solidFill>
            </c:spPr>
            <c:extLst>
              <c:ext xmlns:c16="http://schemas.microsoft.com/office/drawing/2014/chart" uri="{C3380CC4-5D6E-409C-BE32-E72D297353CC}">
                <c16:uniqueId val="{0000001D-902D-4251-AC41-C6D4CBCA5CD6}"/>
              </c:ext>
            </c:extLst>
          </c:dPt>
          <c:dPt>
            <c:idx val="15"/>
            <c:invertIfNegative val="1"/>
            <c:bubble3D val="0"/>
            <c:spPr>
              <a:solidFill>
                <a:srgbClr val="AEABAB"/>
              </a:solidFill>
            </c:spPr>
            <c:extLst>
              <c:ext xmlns:c16="http://schemas.microsoft.com/office/drawing/2014/chart" uri="{C3380CC4-5D6E-409C-BE32-E72D297353CC}">
                <c16:uniqueId val="{0000001F-902D-4251-AC41-C6D4CBCA5CD6}"/>
              </c:ext>
            </c:extLst>
          </c:dPt>
          <c:dPt>
            <c:idx val="16"/>
            <c:invertIfNegative val="1"/>
            <c:bubble3D val="0"/>
            <c:spPr>
              <a:solidFill>
                <a:srgbClr val="AEABAB"/>
              </a:solidFill>
            </c:spPr>
            <c:extLst>
              <c:ext xmlns:c16="http://schemas.microsoft.com/office/drawing/2014/chart" uri="{C3380CC4-5D6E-409C-BE32-E72D297353CC}">
                <c16:uniqueId val="{00000021-902D-4251-AC41-C6D4CBCA5CD6}"/>
              </c:ext>
            </c:extLst>
          </c:dPt>
          <c:dPt>
            <c:idx val="17"/>
            <c:invertIfNegative val="0"/>
            <c:bubble3D val="0"/>
            <c:extLst>
              <c:ext xmlns:c16="http://schemas.microsoft.com/office/drawing/2014/chart" uri="{C3380CC4-5D6E-409C-BE32-E72D297353CC}">
                <c16:uniqueId val="{00000023-902D-4251-AC41-C6D4CBCA5CD6}"/>
              </c:ext>
            </c:extLst>
          </c:dPt>
          <c:dPt>
            <c:idx val="18"/>
            <c:invertIfNegative val="1"/>
            <c:bubble3D val="0"/>
            <c:spPr>
              <a:solidFill>
                <a:srgbClr val="AEABAB"/>
              </a:solidFill>
            </c:spPr>
            <c:extLst>
              <c:ext xmlns:c16="http://schemas.microsoft.com/office/drawing/2014/chart" uri="{C3380CC4-5D6E-409C-BE32-E72D297353CC}">
                <c16:uniqueId val="{00000025-902D-4251-AC41-C6D4CBCA5CD6}"/>
              </c:ext>
            </c:extLst>
          </c:dPt>
          <c:dPt>
            <c:idx val="19"/>
            <c:invertIfNegative val="1"/>
            <c:bubble3D val="0"/>
            <c:spPr>
              <a:solidFill>
                <a:srgbClr val="AEABAB"/>
              </a:solidFill>
            </c:spPr>
            <c:extLst>
              <c:ext xmlns:c16="http://schemas.microsoft.com/office/drawing/2014/chart" uri="{C3380CC4-5D6E-409C-BE32-E72D297353CC}">
                <c16:uniqueId val="{00000027-902D-4251-AC41-C6D4CBCA5CD6}"/>
              </c:ext>
            </c:extLst>
          </c:dPt>
          <c:dPt>
            <c:idx val="20"/>
            <c:invertIfNegative val="1"/>
            <c:bubble3D val="0"/>
            <c:spPr>
              <a:solidFill>
                <a:srgbClr val="7ECAC4"/>
              </a:solidFill>
            </c:spPr>
            <c:extLst>
              <c:ext xmlns:c16="http://schemas.microsoft.com/office/drawing/2014/chart" uri="{C3380CC4-5D6E-409C-BE32-E72D297353CC}">
                <c16:uniqueId val="{00000029-902D-4251-AC41-C6D4CBCA5CD6}"/>
              </c:ext>
            </c:extLst>
          </c:dPt>
          <c:dPt>
            <c:idx val="21"/>
            <c:invertIfNegative val="1"/>
            <c:bubble3D val="0"/>
            <c:spPr>
              <a:solidFill>
                <a:srgbClr val="AEABAB"/>
              </a:solidFill>
            </c:spPr>
            <c:extLst>
              <c:ext xmlns:c16="http://schemas.microsoft.com/office/drawing/2014/chart" uri="{C3380CC4-5D6E-409C-BE32-E72D297353CC}">
                <c16:uniqueId val="{0000002B-902D-4251-AC41-C6D4CBCA5CD6}"/>
              </c:ext>
            </c:extLst>
          </c:dPt>
          <c:dPt>
            <c:idx val="22"/>
            <c:invertIfNegative val="1"/>
            <c:bubble3D val="0"/>
            <c:spPr>
              <a:solidFill>
                <a:srgbClr val="AEABAB"/>
              </a:solidFill>
            </c:spPr>
            <c:extLst>
              <c:ext xmlns:c16="http://schemas.microsoft.com/office/drawing/2014/chart" uri="{C3380CC4-5D6E-409C-BE32-E72D297353CC}">
                <c16:uniqueId val="{0000002D-902D-4251-AC41-C6D4CBCA5CD6}"/>
              </c:ext>
            </c:extLst>
          </c:dPt>
          <c:dPt>
            <c:idx val="23"/>
            <c:invertIfNegative val="1"/>
            <c:bubble3D val="0"/>
            <c:spPr>
              <a:solidFill>
                <a:srgbClr val="7ECAC4"/>
              </a:solidFill>
            </c:spPr>
            <c:extLst>
              <c:ext xmlns:c16="http://schemas.microsoft.com/office/drawing/2014/chart" uri="{C3380CC4-5D6E-409C-BE32-E72D297353CC}">
                <c16:uniqueId val="{0000002F-902D-4251-AC41-C6D4CBCA5CD6}"/>
              </c:ext>
            </c:extLst>
          </c:dPt>
          <c:dPt>
            <c:idx val="24"/>
            <c:invertIfNegative val="1"/>
            <c:bubble3D val="0"/>
            <c:spPr>
              <a:solidFill>
                <a:srgbClr val="AEABAB"/>
              </a:solidFill>
            </c:spPr>
            <c:extLst>
              <c:ext xmlns:c16="http://schemas.microsoft.com/office/drawing/2014/chart" uri="{C3380CC4-5D6E-409C-BE32-E72D297353CC}">
                <c16:uniqueId val="{00000031-902D-4251-AC41-C6D4CBCA5CD6}"/>
              </c:ext>
            </c:extLst>
          </c:dPt>
          <c:dPt>
            <c:idx val="25"/>
            <c:invertIfNegative val="1"/>
            <c:bubble3D val="0"/>
            <c:spPr>
              <a:solidFill>
                <a:srgbClr val="AEABAB"/>
              </a:solidFill>
            </c:spPr>
            <c:extLst>
              <c:ext xmlns:c16="http://schemas.microsoft.com/office/drawing/2014/chart" uri="{C3380CC4-5D6E-409C-BE32-E72D297353CC}">
                <c16:uniqueId val="{00000033-902D-4251-AC41-C6D4CBCA5CD6}"/>
              </c:ext>
            </c:extLst>
          </c:dPt>
          <c:dPt>
            <c:idx val="26"/>
            <c:invertIfNegative val="1"/>
            <c:bubble3D val="0"/>
            <c:spPr>
              <a:solidFill>
                <a:srgbClr val="AEABAB"/>
              </a:solidFill>
            </c:spPr>
            <c:extLst>
              <c:ext xmlns:c16="http://schemas.microsoft.com/office/drawing/2014/chart" uri="{C3380CC4-5D6E-409C-BE32-E72D297353CC}">
                <c16:uniqueId val="{00000035-902D-4251-AC41-C6D4CBCA5CD6}"/>
              </c:ext>
            </c:extLst>
          </c:dPt>
          <c:dPt>
            <c:idx val="27"/>
            <c:invertIfNegative val="1"/>
            <c:bubble3D val="0"/>
            <c:spPr>
              <a:solidFill>
                <a:srgbClr val="AEABAB"/>
              </a:solidFill>
            </c:spPr>
            <c:extLst>
              <c:ext xmlns:c16="http://schemas.microsoft.com/office/drawing/2014/chart" uri="{C3380CC4-5D6E-409C-BE32-E72D297353CC}">
                <c16:uniqueId val="{00000037-902D-4251-AC41-C6D4CBCA5CD6}"/>
              </c:ext>
            </c:extLst>
          </c:dPt>
          <c:dPt>
            <c:idx val="28"/>
            <c:invertIfNegative val="1"/>
            <c:bubble3D val="0"/>
            <c:spPr>
              <a:solidFill>
                <a:srgbClr val="AEABAB"/>
              </a:solidFill>
            </c:spPr>
            <c:extLst>
              <c:ext xmlns:c16="http://schemas.microsoft.com/office/drawing/2014/chart" uri="{C3380CC4-5D6E-409C-BE32-E72D297353CC}">
                <c16:uniqueId val="{00000039-902D-4251-AC41-C6D4CBCA5CD6}"/>
              </c:ext>
            </c:extLst>
          </c:dPt>
          <c:dPt>
            <c:idx val="29"/>
            <c:invertIfNegative val="1"/>
            <c:bubble3D val="0"/>
            <c:spPr>
              <a:solidFill>
                <a:srgbClr val="AEABAB"/>
              </a:solidFill>
            </c:spPr>
            <c:extLst>
              <c:ext xmlns:c16="http://schemas.microsoft.com/office/drawing/2014/chart" uri="{C3380CC4-5D6E-409C-BE32-E72D297353CC}">
                <c16:uniqueId val="{0000003B-902D-4251-AC41-C6D4CBCA5CD6}"/>
              </c:ext>
            </c:extLst>
          </c:dPt>
          <c:dPt>
            <c:idx val="30"/>
            <c:invertIfNegative val="1"/>
            <c:bubble3D val="0"/>
            <c:spPr>
              <a:solidFill>
                <a:srgbClr val="AEABAB"/>
              </a:solidFill>
            </c:spPr>
            <c:extLst>
              <c:ext xmlns:c16="http://schemas.microsoft.com/office/drawing/2014/chart" uri="{C3380CC4-5D6E-409C-BE32-E72D297353CC}">
                <c16:uniqueId val="{0000003D-902D-4251-AC41-C6D4CBCA5CD6}"/>
              </c:ext>
            </c:extLst>
          </c:dPt>
          <c:dPt>
            <c:idx val="31"/>
            <c:invertIfNegative val="1"/>
            <c:bubble3D val="0"/>
            <c:spPr>
              <a:solidFill>
                <a:srgbClr val="AEABAB"/>
              </a:solidFill>
            </c:spPr>
            <c:extLst>
              <c:ext xmlns:c16="http://schemas.microsoft.com/office/drawing/2014/chart" uri="{C3380CC4-5D6E-409C-BE32-E72D297353CC}">
                <c16:uniqueId val="{0000003F-902D-4251-AC41-C6D4CBCA5CD6}"/>
              </c:ext>
            </c:extLst>
          </c:dPt>
          <c:dPt>
            <c:idx val="32"/>
            <c:invertIfNegative val="0"/>
            <c:bubble3D val="0"/>
            <c:extLst>
              <c:ext xmlns:c16="http://schemas.microsoft.com/office/drawing/2014/chart" uri="{C3380CC4-5D6E-409C-BE32-E72D297353CC}">
                <c16:uniqueId val="{00000041-902D-4251-AC41-C6D4CBCA5CD6}"/>
              </c:ext>
            </c:extLst>
          </c:dPt>
          <c:dPt>
            <c:idx val="33"/>
            <c:invertIfNegative val="1"/>
            <c:bubble3D val="0"/>
            <c:spPr>
              <a:solidFill>
                <a:srgbClr val="7ECAC4"/>
              </a:solidFill>
            </c:spPr>
            <c:extLst>
              <c:ext xmlns:c16="http://schemas.microsoft.com/office/drawing/2014/chart" uri="{C3380CC4-5D6E-409C-BE32-E72D297353CC}">
                <c16:uniqueId val="{00000043-902D-4251-AC41-C6D4CBCA5CD6}"/>
              </c:ext>
            </c:extLst>
          </c:dPt>
          <c:dPt>
            <c:idx val="34"/>
            <c:invertIfNegative val="1"/>
            <c:bubble3D val="0"/>
            <c:spPr>
              <a:solidFill>
                <a:srgbClr val="AEABAB"/>
              </a:solidFill>
            </c:spPr>
            <c:extLst>
              <c:ext xmlns:c16="http://schemas.microsoft.com/office/drawing/2014/chart" uri="{C3380CC4-5D6E-409C-BE32-E72D297353CC}">
                <c16:uniqueId val="{00000045-902D-4251-AC41-C6D4CBCA5CD6}"/>
              </c:ext>
            </c:extLst>
          </c:dPt>
          <c:dPt>
            <c:idx val="35"/>
            <c:invertIfNegative val="1"/>
            <c:bubble3D val="0"/>
            <c:spPr>
              <a:solidFill>
                <a:srgbClr val="AEABAB"/>
              </a:solidFill>
            </c:spPr>
            <c:extLst>
              <c:ext xmlns:c16="http://schemas.microsoft.com/office/drawing/2014/chart" uri="{C3380CC4-5D6E-409C-BE32-E72D297353CC}">
                <c16:uniqueId val="{00000047-902D-4251-AC41-C6D4CBCA5CD6}"/>
              </c:ext>
            </c:extLst>
          </c:dPt>
          <c:dPt>
            <c:idx val="36"/>
            <c:invertIfNegative val="1"/>
            <c:bubble3D val="0"/>
            <c:spPr>
              <a:solidFill>
                <a:srgbClr val="7ECAC4"/>
              </a:solidFill>
            </c:spPr>
            <c:extLst>
              <c:ext xmlns:c16="http://schemas.microsoft.com/office/drawing/2014/chart" uri="{C3380CC4-5D6E-409C-BE32-E72D297353CC}">
                <c16:uniqueId val="{00000049-902D-4251-AC41-C6D4CBCA5CD6}"/>
              </c:ext>
            </c:extLst>
          </c:dPt>
          <c:dPt>
            <c:idx val="37"/>
            <c:invertIfNegative val="1"/>
            <c:bubble3D val="0"/>
            <c:spPr>
              <a:solidFill>
                <a:srgbClr val="AEABAB"/>
              </a:solidFill>
            </c:spPr>
            <c:extLst>
              <c:ext xmlns:c16="http://schemas.microsoft.com/office/drawing/2014/chart" uri="{C3380CC4-5D6E-409C-BE32-E72D297353CC}">
                <c16:uniqueId val="{0000004B-902D-4251-AC41-C6D4CBCA5CD6}"/>
              </c:ext>
            </c:extLst>
          </c:dPt>
          <c:dPt>
            <c:idx val="38"/>
            <c:invertIfNegative val="1"/>
            <c:bubble3D val="0"/>
            <c:spPr>
              <a:solidFill>
                <a:srgbClr val="AEABAB"/>
              </a:solidFill>
            </c:spPr>
            <c:extLst>
              <c:ext xmlns:c16="http://schemas.microsoft.com/office/drawing/2014/chart" uri="{C3380CC4-5D6E-409C-BE32-E72D297353CC}">
                <c16:uniqueId val="{0000004D-902D-4251-AC41-C6D4CBCA5CD6}"/>
              </c:ext>
            </c:extLst>
          </c:dPt>
          <c:dPt>
            <c:idx val="39"/>
            <c:invertIfNegative val="1"/>
            <c:bubble3D val="0"/>
            <c:spPr>
              <a:solidFill>
                <a:srgbClr val="AEABAB"/>
              </a:solidFill>
            </c:spPr>
            <c:extLst>
              <c:ext xmlns:c16="http://schemas.microsoft.com/office/drawing/2014/chart" uri="{C3380CC4-5D6E-409C-BE32-E72D297353CC}">
                <c16:uniqueId val="{0000004F-902D-4251-AC41-C6D4CBCA5CD6}"/>
              </c:ext>
            </c:extLst>
          </c:dPt>
          <c:dPt>
            <c:idx val="40"/>
            <c:invertIfNegative val="1"/>
            <c:bubble3D val="0"/>
            <c:spPr>
              <a:solidFill>
                <a:srgbClr val="AEABAB"/>
              </a:solidFill>
            </c:spPr>
            <c:extLst>
              <c:ext xmlns:c16="http://schemas.microsoft.com/office/drawing/2014/chart" uri="{C3380CC4-5D6E-409C-BE32-E72D297353CC}">
                <c16:uniqueId val="{00000051-902D-4251-AC41-C6D4CBCA5CD6}"/>
              </c:ext>
            </c:extLst>
          </c:dPt>
          <c:dPt>
            <c:idx val="41"/>
            <c:invertIfNegative val="1"/>
            <c:bubble3D val="0"/>
            <c:spPr>
              <a:solidFill>
                <a:srgbClr val="AEABAB"/>
              </a:solidFill>
            </c:spPr>
            <c:extLst>
              <c:ext xmlns:c16="http://schemas.microsoft.com/office/drawing/2014/chart" uri="{C3380CC4-5D6E-409C-BE32-E72D297353CC}">
                <c16:uniqueId val="{00000053-902D-4251-AC41-C6D4CBCA5CD6}"/>
              </c:ext>
            </c:extLst>
          </c:dPt>
          <c:dPt>
            <c:idx val="42"/>
            <c:invertIfNegative val="1"/>
            <c:bubble3D val="0"/>
            <c:spPr>
              <a:solidFill>
                <a:srgbClr val="AEABAB"/>
              </a:solidFill>
            </c:spPr>
            <c:extLst>
              <c:ext xmlns:c16="http://schemas.microsoft.com/office/drawing/2014/chart" uri="{C3380CC4-5D6E-409C-BE32-E72D297353CC}">
                <c16:uniqueId val="{00000055-902D-4251-AC41-C6D4CBCA5CD6}"/>
              </c:ext>
            </c:extLst>
          </c:dPt>
          <c:dPt>
            <c:idx val="43"/>
            <c:invertIfNegative val="1"/>
            <c:bubble3D val="0"/>
            <c:spPr>
              <a:solidFill>
                <a:srgbClr val="AEABAB"/>
              </a:solidFill>
            </c:spPr>
            <c:extLst>
              <c:ext xmlns:c16="http://schemas.microsoft.com/office/drawing/2014/chart" uri="{C3380CC4-5D6E-409C-BE32-E72D297353CC}">
                <c16:uniqueId val="{00000057-902D-4251-AC41-C6D4CBCA5CD6}"/>
              </c:ext>
            </c:extLst>
          </c:dPt>
          <c:dPt>
            <c:idx val="44"/>
            <c:invertIfNegative val="0"/>
            <c:bubble3D val="0"/>
            <c:extLst>
              <c:ext xmlns:c16="http://schemas.microsoft.com/office/drawing/2014/chart" uri="{C3380CC4-5D6E-409C-BE32-E72D297353CC}">
                <c16:uniqueId val="{00000059-902D-4251-AC41-C6D4CBCA5CD6}"/>
              </c:ext>
            </c:extLst>
          </c:dPt>
          <c:dPt>
            <c:idx val="45"/>
            <c:invertIfNegative val="1"/>
            <c:bubble3D val="0"/>
            <c:spPr>
              <a:solidFill>
                <a:srgbClr val="7ECAC4"/>
              </a:solidFill>
            </c:spPr>
            <c:extLst>
              <c:ext xmlns:c16="http://schemas.microsoft.com/office/drawing/2014/chart" uri="{C3380CC4-5D6E-409C-BE32-E72D297353CC}">
                <c16:uniqueId val="{0000005B-902D-4251-AC41-C6D4CBCA5CD6}"/>
              </c:ext>
            </c:extLst>
          </c:dPt>
          <c:dPt>
            <c:idx val="46"/>
            <c:invertIfNegative val="1"/>
            <c:bubble3D val="0"/>
            <c:spPr>
              <a:solidFill>
                <a:srgbClr val="7ECAC4"/>
              </a:solidFill>
            </c:spPr>
            <c:extLst>
              <c:ext xmlns:c16="http://schemas.microsoft.com/office/drawing/2014/chart" uri="{C3380CC4-5D6E-409C-BE32-E72D297353CC}">
                <c16:uniqueId val="{0000005D-902D-4251-AC41-C6D4CBCA5CD6}"/>
              </c:ext>
            </c:extLst>
          </c:dPt>
          <c:dPt>
            <c:idx val="47"/>
            <c:invertIfNegative val="1"/>
            <c:bubble3D val="0"/>
            <c:spPr>
              <a:solidFill>
                <a:srgbClr val="AEABAB"/>
              </a:solidFill>
            </c:spPr>
            <c:extLst>
              <c:ext xmlns:c16="http://schemas.microsoft.com/office/drawing/2014/chart" uri="{C3380CC4-5D6E-409C-BE32-E72D297353CC}">
                <c16:uniqueId val="{0000005F-902D-4251-AC41-C6D4CBCA5CD6}"/>
              </c:ext>
            </c:extLst>
          </c:dPt>
          <c:dPt>
            <c:idx val="48"/>
            <c:invertIfNegative val="1"/>
            <c:bubble3D val="0"/>
            <c:spPr>
              <a:solidFill>
                <a:srgbClr val="AEABAB"/>
              </a:solidFill>
            </c:spPr>
            <c:extLst>
              <c:ext xmlns:c16="http://schemas.microsoft.com/office/drawing/2014/chart" uri="{C3380CC4-5D6E-409C-BE32-E72D297353CC}">
                <c16:uniqueId val="{00000061-902D-4251-AC41-C6D4CBCA5CD6}"/>
              </c:ext>
            </c:extLst>
          </c:dPt>
          <c:dPt>
            <c:idx val="49"/>
            <c:invertIfNegative val="0"/>
            <c:bubble3D val="0"/>
            <c:spPr>
              <a:solidFill>
                <a:srgbClr val="7ECAC4"/>
              </a:solidFill>
            </c:spPr>
            <c:extLst>
              <c:ext xmlns:c16="http://schemas.microsoft.com/office/drawing/2014/chart" uri="{C3380CC4-5D6E-409C-BE32-E72D297353CC}">
                <c16:uniqueId val="{00000063-902D-4251-AC41-C6D4CBCA5CD6}"/>
              </c:ext>
            </c:extLst>
          </c:dPt>
          <c:dPt>
            <c:idx val="50"/>
            <c:invertIfNegative val="0"/>
            <c:bubble3D val="0"/>
            <c:spPr>
              <a:solidFill>
                <a:srgbClr val="7ECAC4"/>
              </a:solidFill>
            </c:spPr>
            <c:extLst>
              <c:ext xmlns:c16="http://schemas.microsoft.com/office/drawing/2014/chart" uri="{C3380CC4-5D6E-409C-BE32-E72D297353CC}">
                <c16:uniqueId val="{00000065-902D-4251-AC41-C6D4CBCA5CD6}"/>
              </c:ext>
            </c:extLst>
          </c:dPt>
          <c:dPt>
            <c:idx val="51"/>
            <c:invertIfNegative val="1"/>
            <c:bubble3D val="0"/>
            <c:spPr>
              <a:solidFill>
                <a:srgbClr val="7ECAC4"/>
              </a:solidFill>
            </c:spPr>
            <c:extLst>
              <c:ext xmlns:c16="http://schemas.microsoft.com/office/drawing/2014/chart" uri="{C3380CC4-5D6E-409C-BE32-E72D297353CC}">
                <c16:uniqueId val="{00000067-902D-4251-AC41-C6D4CBCA5CD6}"/>
              </c:ext>
            </c:extLst>
          </c:dPt>
          <c:dPt>
            <c:idx val="52"/>
            <c:invertIfNegative val="1"/>
            <c:bubble3D val="0"/>
            <c:spPr>
              <a:solidFill>
                <a:srgbClr val="7ECAC4"/>
              </a:solidFill>
            </c:spPr>
            <c:extLst>
              <c:ext xmlns:c16="http://schemas.microsoft.com/office/drawing/2014/chart" uri="{C3380CC4-5D6E-409C-BE32-E72D297353CC}">
                <c16:uniqueId val="{00000069-902D-4251-AC41-C6D4CBCA5CD6}"/>
              </c:ext>
            </c:extLst>
          </c:dPt>
          <c:dPt>
            <c:idx val="53"/>
            <c:invertIfNegative val="1"/>
            <c:bubble3D val="0"/>
            <c:spPr>
              <a:solidFill>
                <a:srgbClr val="7ECAC4"/>
              </a:solidFill>
            </c:spPr>
            <c:extLst>
              <c:ext xmlns:c16="http://schemas.microsoft.com/office/drawing/2014/chart" uri="{C3380CC4-5D6E-409C-BE32-E72D297353CC}">
                <c16:uniqueId val="{0000006B-B2E8-4080-83D6-EECA18439E6A}"/>
              </c:ext>
            </c:extLst>
          </c:dPt>
          <c:dPt>
            <c:idx val="54"/>
            <c:invertIfNegative val="1"/>
            <c:bubble3D val="0"/>
            <c:spPr>
              <a:solidFill>
                <a:srgbClr val="AEABAB"/>
              </a:solidFill>
            </c:spPr>
            <c:extLst>
              <c:ext xmlns:c16="http://schemas.microsoft.com/office/drawing/2014/chart" uri="{C3380CC4-5D6E-409C-BE32-E72D297353CC}">
                <c16:uniqueId val="{0000006D-B2E8-4080-83D6-EECA18439E6A}"/>
              </c:ext>
            </c:extLst>
          </c:dPt>
          <c:dPt>
            <c:idx val="55"/>
            <c:invertIfNegative val="1"/>
            <c:bubble3D val="0"/>
            <c:spPr>
              <a:solidFill>
                <a:srgbClr val="AEABAB"/>
              </a:solidFill>
            </c:spPr>
            <c:extLst>
              <c:ext xmlns:c16="http://schemas.microsoft.com/office/drawing/2014/chart" uri="{C3380CC4-5D6E-409C-BE32-E72D297353CC}">
                <c16:uniqueId val="{0000006F-B2E8-4080-83D6-EECA18439E6A}"/>
              </c:ext>
            </c:extLst>
          </c:dPt>
          <c:dPt>
            <c:idx val="56"/>
            <c:invertIfNegative val="1"/>
            <c:bubble3D val="0"/>
            <c:spPr>
              <a:solidFill>
                <a:srgbClr val="AEABAB"/>
              </a:solidFill>
            </c:spPr>
            <c:extLst>
              <c:ext xmlns:c16="http://schemas.microsoft.com/office/drawing/2014/chart" uri="{C3380CC4-5D6E-409C-BE32-E72D297353CC}">
                <c16:uniqueId val="{00000071-B2E8-4080-83D6-EECA18439E6A}"/>
              </c:ext>
            </c:extLst>
          </c:dPt>
          <c:dPt>
            <c:idx val="57"/>
            <c:invertIfNegative val="1"/>
            <c:bubble3D val="0"/>
            <c:spPr>
              <a:solidFill>
                <a:srgbClr val="7ECAC4"/>
              </a:solidFill>
            </c:spPr>
            <c:extLst>
              <c:ext xmlns:c16="http://schemas.microsoft.com/office/drawing/2014/chart" uri="{C3380CC4-5D6E-409C-BE32-E72D297353CC}">
                <c16:uniqueId val="{00000073-B2E8-4080-83D6-EECA18439E6A}"/>
              </c:ext>
            </c:extLst>
          </c:dPt>
          <c:dPt>
            <c:idx val="58"/>
            <c:invertIfNegative val="1"/>
            <c:bubble3D val="0"/>
            <c:spPr>
              <a:solidFill>
                <a:srgbClr val="AEABAB"/>
              </a:solidFill>
            </c:spPr>
            <c:extLst>
              <c:ext xmlns:c16="http://schemas.microsoft.com/office/drawing/2014/chart" uri="{C3380CC4-5D6E-409C-BE32-E72D297353CC}">
                <c16:uniqueId val="{00000075-B2E8-4080-83D6-EECA18439E6A}"/>
              </c:ext>
            </c:extLst>
          </c:dPt>
          <c:dPt>
            <c:idx val="59"/>
            <c:invertIfNegative val="1"/>
            <c:bubble3D val="0"/>
            <c:spPr>
              <a:solidFill>
                <a:srgbClr val="AEABAB"/>
              </a:solidFill>
            </c:spPr>
            <c:extLst>
              <c:ext xmlns:c16="http://schemas.microsoft.com/office/drawing/2014/chart" uri="{C3380CC4-5D6E-409C-BE32-E72D297353CC}">
                <c16:uniqueId val="{00000077-B2E8-4080-83D6-EECA18439E6A}"/>
              </c:ext>
            </c:extLst>
          </c:dPt>
          <c:dPt>
            <c:idx val="60"/>
            <c:invertIfNegative val="1"/>
            <c:bubble3D val="0"/>
            <c:spPr>
              <a:solidFill>
                <a:srgbClr val="AEABAB"/>
              </a:solidFill>
            </c:spPr>
            <c:extLst>
              <c:ext xmlns:c16="http://schemas.microsoft.com/office/drawing/2014/chart" uri="{C3380CC4-5D6E-409C-BE32-E72D297353CC}">
                <c16:uniqueId val="{00000079-B2E8-4080-83D6-EECA18439E6A}"/>
              </c:ext>
            </c:extLst>
          </c:dPt>
          <c:dPt>
            <c:idx val="61"/>
            <c:invertIfNegative val="1"/>
            <c:bubble3D val="0"/>
            <c:spPr>
              <a:solidFill>
                <a:srgbClr val="7ECAC4"/>
              </a:solidFill>
            </c:spPr>
            <c:extLst>
              <c:ext xmlns:c16="http://schemas.microsoft.com/office/drawing/2014/chart" uri="{C3380CC4-5D6E-409C-BE32-E72D297353CC}">
                <c16:uniqueId val="{0000007B-B2E8-4080-83D6-EECA18439E6A}"/>
              </c:ext>
            </c:extLst>
          </c:dPt>
          <c:dPt>
            <c:idx val="62"/>
            <c:invertIfNegative val="1"/>
            <c:bubble3D val="0"/>
            <c:spPr>
              <a:solidFill>
                <a:srgbClr val="7ECAC4"/>
              </a:solidFill>
            </c:spPr>
            <c:extLst>
              <c:ext xmlns:c16="http://schemas.microsoft.com/office/drawing/2014/chart" uri="{C3380CC4-5D6E-409C-BE32-E72D297353CC}">
                <c16:uniqueId val="{0000007D-B2E8-4080-83D6-EECA18439E6A}"/>
              </c:ext>
            </c:extLst>
          </c:dPt>
          <c:dPt>
            <c:idx val="63"/>
            <c:invertIfNegative val="1"/>
            <c:bubble3D val="0"/>
            <c:spPr>
              <a:solidFill>
                <a:srgbClr val="7ECAC4"/>
              </a:solidFill>
            </c:spPr>
            <c:extLst>
              <c:ext xmlns:c16="http://schemas.microsoft.com/office/drawing/2014/chart" uri="{C3380CC4-5D6E-409C-BE32-E72D297353CC}">
                <c16:uniqueId val="{0000007F-B2E8-4080-83D6-EECA18439E6A}"/>
              </c:ext>
            </c:extLst>
          </c:dPt>
          <c:dPt>
            <c:idx val="64"/>
            <c:invertIfNegative val="1"/>
            <c:bubble3D val="0"/>
            <c:spPr>
              <a:solidFill>
                <a:srgbClr val="7ECAC4"/>
              </a:solidFill>
            </c:spPr>
            <c:extLst>
              <c:ext xmlns:c16="http://schemas.microsoft.com/office/drawing/2014/chart" uri="{C3380CC4-5D6E-409C-BE32-E72D297353CC}">
                <c16:uniqueId val="{00000081-B2E8-4080-83D6-EECA18439E6A}"/>
              </c:ext>
            </c:extLst>
          </c:dPt>
          <c:dPt>
            <c:idx val="65"/>
            <c:invertIfNegative val="1"/>
            <c:bubble3D val="0"/>
            <c:spPr>
              <a:solidFill>
                <a:srgbClr val="AEABAB"/>
              </a:solidFill>
            </c:spPr>
            <c:extLst>
              <c:ext xmlns:c16="http://schemas.microsoft.com/office/drawing/2014/chart" uri="{C3380CC4-5D6E-409C-BE32-E72D297353CC}">
                <c16:uniqueId val="{00000083-B2E8-4080-83D6-EECA18439E6A}"/>
              </c:ext>
            </c:extLst>
          </c:dPt>
          <c:dPt>
            <c:idx val="66"/>
            <c:invertIfNegative val="1"/>
            <c:bubble3D val="0"/>
            <c:spPr>
              <a:solidFill>
                <a:srgbClr val="AEABAB"/>
              </a:solidFill>
            </c:spPr>
            <c:extLst>
              <c:ext xmlns:c16="http://schemas.microsoft.com/office/drawing/2014/chart" uri="{C3380CC4-5D6E-409C-BE32-E72D297353CC}">
                <c16:uniqueId val="{00000085-B2E8-4080-83D6-EECA18439E6A}"/>
              </c:ext>
            </c:extLst>
          </c:dPt>
          <c:dPt>
            <c:idx val="67"/>
            <c:invertIfNegative val="1"/>
            <c:bubble3D val="0"/>
            <c:spPr>
              <a:solidFill>
                <a:srgbClr val="7ECAC4"/>
              </a:solidFill>
            </c:spPr>
            <c:extLst>
              <c:ext xmlns:c16="http://schemas.microsoft.com/office/drawing/2014/chart" uri="{C3380CC4-5D6E-409C-BE32-E72D297353CC}">
                <c16:uniqueId val="{00000087-B2E8-4080-83D6-EECA18439E6A}"/>
              </c:ext>
            </c:extLst>
          </c:dPt>
          <c:dPt>
            <c:idx val="68"/>
            <c:invertIfNegative val="1"/>
            <c:bubble3D val="0"/>
            <c:spPr>
              <a:solidFill>
                <a:srgbClr val="006C6D"/>
              </a:solidFill>
            </c:spPr>
            <c:extLst>
              <c:ext xmlns:c16="http://schemas.microsoft.com/office/drawing/2014/chart" uri="{C3380CC4-5D6E-409C-BE32-E72D297353CC}">
                <c16:uniqueId val="{00000089-B2E8-4080-83D6-EECA18439E6A}"/>
              </c:ext>
            </c:extLst>
          </c:dPt>
          <c:dPt>
            <c:idx val="69"/>
            <c:invertIfNegative val="1"/>
            <c:bubble3D val="0"/>
            <c:spPr>
              <a:solidFill>
                <a:srgbClr val="AEABAB"/>
              </a:solidFill>
            </c:spPr>
            <c:extLst>
              <c:ext xmlns:c16="http://schemas.microsoft.com/office/drawing/2014/chart" uri="{C3380CC4-5D6E-409C-BE32-E72D297353CC}">
                <c16:uniqueId val="{0000008B-B2E8-4080-83D6-EECA18439E6A}"/>
              </c:ext>
            </c:extLst>
          </c:dPt>
          <c:dPt>
            <c:idx val="70"/>
            <c:invertIfNegative val="1"/>
            <c:bubble3D val="0"/>
            <c:spPr>
              <a:solidFill>
                <a:srgbClr val="7ECAC4"/>
              </a:solidFill>
            </c:spPr>
            <c:extLst>
              <c:ext xmlns:c16="http://schemas.microsoft.com/office/drawing/2014/chart" uri="{C3380CC4-5D6E-409C-BE32-E72D297353CC}">
                <c16:uniqueId val="{0000008D-B2E8-4080-83D6-EECA18439E6A}"/>
              </c:ext>
            </c:extLst>
          </c:dPt>
          <c:dPt>
            <c:idx val="71"/>
            <c:invertIfNegative val="1"/>
            <c:bubble3D val="0"/>
            <c:spPr>
              <a:solidFill>
                <a:srgbClr val="7ECAC4"/>
              </a:solidFill>
            </c:spPr>
            <c:extLst>
              <c:ext xmlns:c16="http://schemas.microsoft.com/office/drawing/2014/chart" uri="{C3380CC4-5D6E-409C-BE32-E72D297353CC}">
                <c16:uniqueId val="{0000008F-B2E8-4080-83D6-EECA18439E6A}"/>
              </c:ext>
            </c:extLst>
          </c:dPt>
          <c:dPt>
            <c:idx val="72"/>
            <c:invertIfNegative val="1"/>
            <c:bubble3D val="0"/>
            <c:spPr>
              <a:solidFill>
                <a:srgbClr val="7ECAC4"/>
              </a:solidFill>
            </c:spPr>
            <c:extLst>
              <c:ext xmlns:c16="http://schemas.microsoft.com/office/drawing/2014/chart" uri="{C3380CC4-5D6E-409C-BE32-E72D297353CC}">
                <c16:uniqueId val="{00000091-B2E8-4080-83D6-EECA18439E6A}"/>
              </c:ext>
            </c:extLst>
          </c:dPt>
          <c:dPt>
            <c:idx val="73"/>
            <c:invertIfNegative val="1"/>
            <c:bubble3D val="0"/>
            <c:spPr>
              <a:solidFill>
                <a:srgbClr val="AEABAB"/>
              </a:solidFill>
            </c:spPr>
            <c:extLst>
              <c:ext xmlns:c16="http://schemas.microsoft.com/office/drawing/2014/chart" uri="{C3380CC4-5D6E-409C-BE32-E72D297353CC}">
                <c16:uniqueId val="{00000093-B2E8-4080-83D6-EECA18439E6A}"/>
              </c:ext>
            </c:extLst>
          </c:dPt>
          <c:dPt>
            <c:idx val="74"/>
            <c:invertIfNegative val="1"/>
            <c:bubble3D val="0"/>
            <c:spPr>
              <a:solidFill>
                <a:srgbClr val="7ECAC4"/>
              </a:solidFill>
            </c:spPr>
            <c:extLst>
              <c:ext xmlns:c16="http://schemas.microsoft.com/office/drawing/2014/chart" uri="{C3380CC4-5D6E-409C-BE32-E72D297353CC}">
                <c16:uniqueId val="{00000095-B2E8-4080-83D6-EECA18439E6A}"/>
              </c:ext>
            </c:extLst>
          </c:dPt>
          <c:dPt>
            <c:idx val="75"/>
            <c:invertIfNegative val="1"/>
            <c:bubble3D val="0"/>
            <c:spPr>
              <a:solidFill>
                <a:srgbClr val="7ECAC4"/>
              </a:solidFill>
            </c:spPr>
            <c:extLst>
              <c:ext xmlns:c16="http://schemas.microsoft.com/office/drawing/2014/chart" uri="{C3380CC4-5D6E-409C-BE32-E72D297353CC}">
                <c16:uniqueId val="{00000097-B2E8-4080-83D6-EECA18439E6A}"/>
              </c:ext>
            </c:extLst>
          </c:dPt>
          <c:dPt>
            <c:idx val="76"/>
            <c:invertIfNegative val="1"/>
            <c:bubble3D val="0"/>
            <c:spPr>
              <a:solidFill>
                <a:srgbClr val="AEABAB"/>
              </a:solidFill>
            </c:spPr>
            <c:extLst>
              <c:ext xmlns:c16="http://schemas.microsoft.com/office/drawing/2014/chart" uri="{C3380CC4-5D6E-409C-BE32-E72D297353CC}">
                <c16:uniqueId val="{00000099-B2E8-4080-83D6-EECA18439E6A}"/>
              </c:ext>
            </c:extLst>
          </c:dPt>
          <c:dPt>
            <c:idx val="77"/>
            <c:invertIfNegative val="1"/>
            <c:bubble3D val="0"/>
            <c:spPr>
              <a:solidFill>
                <a:srgbClr val="AEABAB"/>
              </a:solidFill>
            </c:spPr>
            <c:extLst>
              <c:ext xmlns:c16="http://schemas.microsoft.com/office/drawing/2014/chart" uri="{C3380CC4-5D6E-409C-BE32-E72D297353CC}">
                <c16:uniqueId val="{0000009B-B2E8-4080-83D6-EECA18439E6A}"/>
              </c:ext>
            </c:extLst>
          </c:dPt>
          <c:dPt>
            <c:idx val="78"/>
            <c:invertIfNegative val="1"/>
            <c:bubble3D val="0"/>
            <c:spPr>
              <a:solidFill>
                <a:srgbClr val="AEABAB"/>
              </a:solidFill>
            </c:spPr>
            <c:extLst>
              <c:ext xmlns:c16="http://schemas.microsoft.com/office/drawing/2014/chart" uri="{C3380CC4-5D6E-409C-BE32-E72D297353CC}">
                <c16:uniqueId val="{0000009D-B2E8-4080-83D6-EECA18439E6A}"/>
              </c:ext>
            </c:extLst>
          </c:dPt>
          <c:dPt>
            <c:idx val="79"/>
            <c:invertIfNegative val="1"/>
            <c:bubble3D val="0"/>
            <c:spPr>
              <a:solidFill>
                <a:srgbClr val="7ECAC4"/>
              </a:solidFill>
            </c:spPr>
            <c:extLst>
              <c:ext xmlns:c16="http://schemas.microsoft.com/office/drawing/2014/chart" uri="{C3380CC4-5D6E-409C-BE32-E72D297353CC}">
                <c16:uniqueId val="{0000009F-B2E8-4080-83D6-EECA18439E6A}"/>
              </c:ext>
            </c:extLst>
          </c:dPt>
          <c:dPt>
            <c:idx val="80"/>
            <c:invertIfNegative val="1"/>
            <c:bubble3D val="0"/>
            <c:spPr>
              <a:solidFill>
                <a:srgbClr val="AEABAB"/>
              </a:solidFill>
            </c:spPr>
            <c:extLst>
              <c:ext xmlns:c16="http://schemas.microsoft.com/office/drawing/2014/chart" uri="{C3380CC4-5D6E-409C-BE32-E72D297353CC}">
                <c16:uniqueId val="{000000A1-B2E8-4080-83D6-EECA18439E6A}"/>
              </c:ext>
            </c:extLst>
          </c:dPt>
          <c:dPt>
            <c:idx val="81"/>
            <c:invertIfNegative val="1"/>
            <c:bubble3D val="0"/>
            <c:spPr>
              <a:solidFill>
                <a:srgbClr val="AEABAB"/>
              </a:solidFill>
            </c:spPr>
            <c:extLst>
              <c:ext xmlns:c16="http://schemas.microsoft.com/office/drawing/2014/chart" uri="{C3380CC4-5D6E-409C-BE32-E72D297353CC}">
                <c16:uniqueId val="{000000A3-B2E8-4080-83D6-EECA18439E6A}"/>
              </c:ext>
            </c:extLst>
          </c:dPt>
          <c:dPt>
            <c:idx val="82"/>
            <c:invertIfNegative val="1"/>
            <c:bubble3D val="0"/>
            <c:spPr>
              <a:solidFill>
                <a:srgbClr val="AEABAB"/>
              </a:solidFill>
            </c:spPr>
            <c:extLst>
              <c:ext xmlns:c16="http://schemas.microsoft.com/office/drawing/2014/chart" uri="{C3380CC4-5D6E-409C-BE32-E72D297353CC}">
                <c16:uniqueId val="{000000A5-B2E8-4080-83D6-EECA18439E6A}"/>
              </c:ext>
            </c:extLst>
          </c:dPt>
          <c:dPt>
            <c:idx val="83"/>
            <c:invertIfNegative val="1"/>
            <c:bubble3D val="0"/>
            <c:spPr>
              <a:solidFill>
                <a:srgbClr val="AEABAB"/>
              </a:solidFill>
            </c:spPr>
            <c:extLst>
              <c:ext xmlns:c16="http://schemas.microsoft.com/office/drawing/2014/chart" uri="{C3380CC4-5D6E-409C-BE32-E72D297353CC}">
                <c16:uniqueId val="{000000A7-B2E8-4080-83D6-EECA18439E6A}"/>
              </c:ext>
            </c:extLst>
          </c:dPt>
          <c:dPt>
            <c:idx val="84"/>
            <c:invertIfNegative val="1"/>
            <c:bubble3D val="0"/>
            <c:spPr>
              <a:solidFill>
                <a:srgbClr val="AEABAB"/>
              </a:solidFill>
            </c:spPr>
            <c:extLst>
              <c:ext xmlns:c16="http://schemas.microsoft.com/office/drawing/2014/chart" uri="{C3380CC4-5D6E-409C-BE32-E72D297353CC}">
                <c16:uniqueId val="{000000A9-B2E8-4080-83D6-EECA18439E6A}"/>
              </c:ext>
            </c:extLst>
          </c:dPt>
          <c:dPt>
            <c:idx val="85"/>
            <c:invertIfNegative val="1"/>
            <c:bubble3D val="0"/>
            <c:spPr>
              <a:solidFill>
                <a:srgbClr val="AEABAB"/>
              </a:solidFill>
            </c:spPr>
            <c:extLst>
              <c:ext xmlns:c16="http://schemas.microsoft.com/office/drawing/2014/chart" uri="{C3380CC4-5D6E-409C-BE32-E72D297353CC}">
                <c16:uniqueId val="{000000AB-B2E8-4080-83D6-EECA18439E6A}"/>
              </c:ext>
            </c:extLst>
          </c:dPt>
          <c:dPt>
            <c:idx val="86"/>
            <c:invertIfNegative val="1"/>
            <c:bubble3D val="0"/>
            <c:spPr>
              <a:solidFill>
                <a:srgbClr val="AEABAB"/>
              </a:solidFill>
            </c:spPr>
            <c:extLst>
              <c:ext xmlns:c16="http://schemas.microsoft.com/office/drawing/2014/chart" uri="{C3380CC4-5D6E-409C-BE32-E72D297353CC}">
                <c16:uniqueId val="{000000AD-B2E8-4080-83D6-EECA18439E6A}"/>
              </c:ext>
            </c:extLst>
          </c:dPt>
          <c:dPt>
            <c:idx val="87"/>
            <c:invertIfNegative val="1"/>
            <c:bubble3D val="0"/>
            <c:spPr>
              <a:solidFill>
                <a:srgbClr val="AEABAB"/>
              </a:solidFill>
            </c:spPr>
            <c:extLst>
              <c:ext xmlns:c16="http://schemas.microsoft.com/office/drawing/2014/chart" uri="{C3380CC4-5D6E-409C-BE32-E72D297353CC}">
                <c16:uniqueId val="{000000AF-B2E8-4080-83D6-EECA18439E6A}"/>
              </c:ext>
            </c:extLst>
          </c:dPt>
          <c:dPt>
            <c:idx val="88"/>
            <c:invertIfNegative val="1"/>
            <c:bubble3D val="0"/>
            <c:spPr>
              <a:solidFill>
                <a:srgbClr val="AEABAB"/>
              </a:solidFill>
            </c:spPr>
            <c:extLst>
              <c:ext xmlns:c16="http://schemas.microsoft.com/office/drawing/2014/chart" uri="{C3380CC4-5D6E-409C-BE32-E72D297353CC}">
                <c16:uniqueId val="{000000B1-B2E8-4080-83D6-EECA18439E6A}"/>
              </c:ext>
            </c:extLst>
          </c:dPt>
          <c:dPt>
            <c:idx val="89"/>
            <c:invertIfNegative val="1"/>
            <c:bubble3D val="0"/>
            <c:spPr>
              <a:solidFill>
                <a:srgbClr val="AEABAB"/>
              </a:solidFill>
            </c:spPr>
            <c:extLst>
              <c:ext xmlns:c16="http://schemas.microsoft.com/office/drawing/2014/chart" uri="{C3380CC4-5D6E-409C-BE32-E72D297353CC}">
                <c16:uniqueId val="{000000B3-B2E8-4080-83D6-EECA18439E6A}"/>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02D-4251-AC41-C6D4CBCA5CD6}"/>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02D-4251-AC41-C6D4CBCA5CD6}"/>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02D-4251-AC41-C6D4CBCA5CD6}"/>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02D-4251-AC41-C6D4CBCA5CD6}"/>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02D-4251-AC41-C6D4CBCA5CD6}"/>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02D-4251-AC41-C6D4CBCA5CD6}"/>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02D-4251-AC41-C6D4CBCA5CD6}"/>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02D-4251-AC41-C6D4CBCA5CD6}"/>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02D-4251-AC41-C6D4CBCA5CD6}"/>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02D-4251-AC41-C6D4CBCA5CD6}"/>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02D-4251-AC41-C6D4CBCA5CD6}"/>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02D-4251-AC41-C6D4CBCA5CD6}"/>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02D-4251-AC41-C6D4CBCA5CD6}"/>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02D-4251-AC41-C6D4CBCA5CD6}"/>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02D-4251-AC41-C6D4CBCA5CD6}"/>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02D-4251-AC41-C6D4CBCA5CD6}"/>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02D-4251-AC41-C6D4CBCA5CD6}"/>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02D-4251-AC41-C6D4CBCA5CD6}"/>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02D-4251-AC41-C6D4CBCA5CD6}"/>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02D-4251-AC41-C6D4CBCA5CD6}"/>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02D-4251-AC41-C6D4CBCA5CD6}"/>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02D-4251-AC41-C6D4CBCA5CD6}"/>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02D-4251-AC41-C6D4CBCA5CD6}"/>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02D-4251-AC41-C6D4CBCA5CD6}"/>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02D-4251-AC41-C6D4CBCA5CD6}"/>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02D-4251-AC41-C6D4CBCA5CD6}"/>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02D-4251-AC41-C6D4CBCA5CD6}"/>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02D-4251-AC41-C6D4CBCA5CD6}"/>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02D-4251-AC41-C6D4CBCA5CD6}"/>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02D-4251-AC41-C6D4CBCA5CD6}"/>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02D-4251-AC41-C6D4CBCA5CD6}"/>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02D-4251-AC41-C6D4CBCA5CD6}"/>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02D-4251-AC41-C6D4CBCA5CD6}"/>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02D-4251-AC41-C6D4CBCA5CD6}"/>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02D-4251-AC41-C6D4CBCA5CD6}"/>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02D-4251-AC41-C6D4CBCA5CD6}"/>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02D-4251-AC41-C6D4CBCA5CD6}"/>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02D-4251-AC41-C6D4CBCA5CD6}"/>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02D-4251-AC41-C6D4CBCA5CD6}"/>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02D-4251-AC41-C6D4CBCA5CD6}"/>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02D-4251-AC41-C6D4CBCA5CD6}"/>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02D-4251-AC41-C6D4CBCA5CD6}"/>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02D-4251-AC41-C6D4CBCA5CD6}"/>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02D-4251-AC41-C6D4CBCA5CD6}"/>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02D-4251-AC41-C6D4CBCA5CD6}"/>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02D-4251-AC41-C6D4CBCA5CD6}"/>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02D-4251-AC41-C6D4CBCA5CD6}"/>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02D-4251-AC41-C6D4CBCA5CD6}"/>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02D-4251-AC41-C6D4CBCA5CD6}"/>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02D-4251-AC41-C6D4CBCA5CD6}"/>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02D-4251-AC41-C6D4CBCA5CD6}"/>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02D-4251-AC41-C6D4CBCA5CD6}"/>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02D-4251-AC41-C6D4CBCA5CD6}"/>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2E8-4080-83D6-EECA18439E6A}"/>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2E8-4080-83D6-EECA18439E6A}"/>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2E8-4080-83D6-EECA18439E6A}"/>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2E8-4080-83D6-EECA18439E6A}"/>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B2E8-4080-83D6-EECA18439E6A}"/>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2E8-4080-83D6-EECA18439E6A}"/>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2E8-4080-83D6-EECA18439E6A}"/>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2E8-4080-83D6-EECA18439E6A}"/>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2E8-4080-83D6-EECA18439E6A}"/>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2E8-4080-83D6-EECA18439E6A}"/>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2E8-4080-83D6-EECA18439E6A}"/>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2E8-4080-83D6-EECA18439E6A}"/>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2E8-4080-83D6-EECA18439E6A}"/>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2E8-4080-83D6-EECA18439E6A}"/>
                </c:ext>
              </c:extLst>
            </c:dLbl>
            <c:dLbl>
              <c:idx val="68"/>
              <c:tx>
                <c:rich>
                  <a:bodyPr/>
                  <a:lstStyle/>
                  <a:p>
                    <a:r>
                      <a:rPr sz="500">
                        <a:solidFill>
                          <a:srgbClr val="006C6D"/>
                        </a:solidFill>
                      </a:rPr>
                      <a:t>Beautycare Pro Age Color Face Fluid FPS50+ 5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2E8-4080-83D6-EECA18439E6A}"/>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2E8-4080-83D6-EECA18439E6A}"/>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2E8-4080-83D6-EECA18439E6A}"/>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2E8-4080-83D6-EECA18439E6A}"/>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2E8-4080-83D6-EECA18439E6A}"/>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2E8-4080-83D6-EECA18439E6A}"/>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2E8-4080-83D6-EECA18439E6A}"/>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2E8-4080-83D6-EECA18439E6A}"/>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2E8-4080-83D6-EECA18439E6A}"/>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2E8-4080-83D6-EECA18439E6A}"/>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2E8-4080-83D6-EECA18439E6A}"/>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2E8-4080-83D6-EECA18439E6A}"/>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2E8-4080-83D6-EECA18439E6A}"/>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2E8-4080-83D6-EECA18439E6A}"/>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2E8-4080-83D6-EECA18439E6A}"/>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2E8-4080-83D6-EECA18439E6A}"/>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2E8-4080-83D6-EECA18439E6A}"/>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2E8-4080-83D6-EECA18439E6A}"/>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2E8-4080-83D6-EECA18439E6A}"/>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2E8-4080-83D6-EECA18439E6A}"/>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2E8-4080-83D6-EECA18439E6A}"/>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2E8-4080-83D6-EECA18439E6A}"/>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anana Boat Mineral Kids Lotion FPS50 180ml</c:v>
                </c:pt>
                <c:pt idx="64">
                  <c:v>Banana Boat Aqua Protect Kids Spray FPS50+ 170g</c:v>
                </c:pt>
                <c:pt idx="65">
                  <c:v>Avene Emulsion Ultra-Mat Fluid FPS50+ 50ml</c:v>
                </c:pt>
                <c:pt idx="66">
                  <c:v>Avène Emulsion Mat Perfect Cream FPS50+ 50ml</c:v>
                </c:pt>
                <c:pt idx="67">
                  <c:v>Beautycare Sensitive Face Lotion FPS50+ 50ml</c:v>
                </c:pt>
                <c:pt idx="68">
                  <c:v>Beautycare Pro Age Color Face Fluid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54116586337942</c:v>
                </c:pt>
                <c:pt idx="1">
                  <c:v>0.057727009809229554</c:v>
                </c:pt>
                <c:pt idx="2">
                  <c:v>0.05103322966722516</c:v>
                </c:pt>
                <c:pt idx="3">
                  <c:v>0.04529899426668327</c:v>
                </c:pt>
                <c:pt idx="4">
                  <c:v>0.04353984597834112</c:v>
                </c:pt>
                <c:pt idx="5">
                  <c:v>0.043503334339193664</c:v>
                </c:pt>
                <c:pt idx="6">
                  <c:v>0.03562369311322839</c:v>
                </c:pt>
                <c:pt idx="7">
                  <c:v>0.03117413112851299</c:v>
                </c:pt>
                <c:pt idx="8">
                  <c:v>0.027958092011429406</c:v>
                </c:pt>
                <c:pt idx="9">
                  <c:v>0.02721719822032883</c:v>
                </c:pt>
                <c:pt idx="10">
                  <c:v>0.022691604514689094</c:v>
                </c:pt>
                <c:pt idx="11">
                  <c:v>0.02264035814683065</c:v>
                </c:pt>
                <c:pt idx="12">
                  <c:v>0.020341978264644494</c:v>
                </c:pt>
                <c:pt idx="13">
                  <c:v>0.01942771092220526</c:v>
                </c:pt>
                <c:pt idx="14">
                  <c:v>0.017305253145110864</c:v>
                </c:pt>
                <c:pt idx="15">
                  <c:v>0.0172860232968734</c:v>
                </c:pt>
                <c:pt idx="16">
                  <c:v>0.017131845400897558</c:v>
                </c:pt>
                <c:pt idx="17">
                  <c:v>0.01528717494779972</c:v>
                </c:pt>
                <c:pt idx="18">
                  <c:v>0.01481757762877224</c:v>
                </c:pt>
                <c:pt idx="19">
                  <c:v>0.014636072421214166</c:v>
                </c:pt>
                <c:pt idx="20">
                  <c:v>0.01406738908200484</c:v>
                </c:pt>
                <c:pt idx="21">
                  <c:v>0.013507021857534326</c:v>
                </c:pt>
                <c:pt idx="22">
                  <c:v>0.012461700156210901</c:v>
                </c:pt>
                <c:pt idx="23">
                  <c:v>0.012212222979255243</c:v>
                </c:pt>
                <c:pt idx="24">
                  <c:v>0.012012942369161374</c:v>
                </c:pt>
                <c:pt idx="25">
                  <c:v>0.011985340872291875</c:v>
                </c:pt>
                <c:pt idx="26">
                  <c:v>0.011768079073363228</c:v>
                </c:pt>
                <c:pt idx="27">
                  <c:v>0.010836051440423438</c:v>
                </c:pt>
                <c:pt idx="28">
                  <c:v>0.010543960936807463</c:v>
                </c:pt>
                <c:pt idx="29">
                  <c:v>0.010363034879322034</c:v>
                </c:pt>
                <c:pt idx="30">
                  <c:v>0.009899865367174056</c:v>
                </c:pt>
                <c:pt idx="31">
                  <c:v>0.009864999044565342</c:v>
                </c:pt>
                <c:pt idx="32">
                  <c:v>0.009722536779328654</c:v>
                </c:pt>
                <c:pt idx="33">
                  <c:v>0.009610245603199135</c:v>
                </c:pt>
                <c:pt idx="34">
                  <c:v>0.009277753607849928</c:v>
                </c:pt>
                <c:pt idx="35">
                  <c:v>0.009255279441323773</c:v>
                </c:pt>
                <c:pt idx="36">
                  <c:v>0.009253772004290822</c:v>
                </c:pt>
                <c:pt idx="37">
                  <c:v>0.009235247087454703</c:v>
                </c:pt>
                <c:pt idx="38">
                  <c:v>0.007551482975173945</c:v>
                </c:pt>
                <c:pt idx="39">
                  <c:v>0.007222945976950958</c:v>
                </c:pt>
                <c:pt idx="40">
                  <c:v>0.007012036313215062</c:v>
                </c:pt>
                <c:pt idx="41">
                  <c:v>0.006942908331532232</c:v>
                </c:pt>
                <c:pt idx="42">
                  <c:v>0.0068441356362010375</c:v>
                </c:pt>
                <c:pt idx="43">
                  <c:v>0.0066461019631652365</c:v>
                </c:pt>
                <c:pt idx="44">
                  <c:v>0.006574049413188108</c:v>
                </c:pt>
                <c:pt idx="45">
                  <c:v>0.006514025997116835</c:v>
                </c:pt>
                <c:pt idx="46">
                  <c:v>0.006139988625143525</c:v>
                </c:pt>
                <c:pt idx="47">
                  <c:v>0.006046257235125212</c:v>
                </c:pt>
                <c:pt idx="48">
                  <c:v>0.005561929059868632</c:v>
                </c:pt>
                <c:pt idx="49">
                  <c:v>0.005272927188532709</c:v>
                </c:pt>
                <c:pt idx="50">
                  <c:v>0.00522255994654361</c:v>
                </c:pt>
                <c:pt idx="51">
                  <c:v>0.005038193206773428</c:v>
                </c:pt>
                <c:pt idx="52">
                  <c:v>0.0048412034938976976</c:v>
                </c:pt>
                <c:pt idx="53">
                  <c:v>0.004813394638050603</c:v>
                </c:pt>
                <c:pt idx="54">
                  <c:v>0.004713254116096964</c:v>
                </c:pt>
                <c:pt idx="55">
                  <c:v>0.004600911527421546</c:v>
                </c:pt>
                <c:pt idx="56">
                  <c:v>0.004538255891352405</c:v>
                </c:pt>
                <c:pt idx="57">
                  <c:v>0.004166209171123809</c:v>
                </c:pt>
                <c:pt idx="58">
                  <c:v>0.00410809890659713</c:v>
                </c:pt>
                <c:pt idx="59">
                  <c:v>0.003947995681642004</c:v>
                </c:pt>
                <c:pt idx="60">
                  <c:v>0.0037864404082746097</c:v>
                </c:pt>
                <c:pt idx="61">
                  <c:v>0.00364994275963162</c:v>
                </c:pt>
                <c:pt idx="62">
                  <c:v>0.0034584984668234674</c:v>
                </c:pt>
                <c:pt idx="63">
                  <c:v>0.0030910096478273443</c:v>
                </c:pt>
                <c:pt idx="64">
                  <c:v>0.0030573002873687046</c:v>
                </c:pt>
                <c:pt idx="65">
                  <c:v>0.002789510520683503</c:v>
                </c:pt>
                <c:pt idx="66">
                  <c:v>0.0026846332831845254</c:v>
                </c:pt>
                <c:pt idx="67">
                  <c:v>0.001866111979510826</c:v>
                </c:pt>
                <c:pt idx="68">
                  <c:v>0.0018168748342503862</c:v>
                </c:pt>
                <c:pt idx="69">
                  <c:v>0.001652367260858361</c:v>
                </c:pt>
                <c:pt idx="70">
                  <c:v>0.0016349626848318549</c:v>
                </c:pt>
                <c:pt idx="71">
                  <c:v>0.0015076557454510161</c:v>
                </c:pt>
                <c:pt idx="72">
                  <c:v>0.0014854052847174232</c:v>
                </c:pt>
                <c:pt idx="73">
                  <c:v>0.001292075900621999</c:v>
                </c:pt>
                <c:pt idx="74">
                  <c:v>0.0012309347209910283</c:v>
                </c:pt>
                <c:pt idx="75">
                  <c:v>0.001155553454898514</c:v>
                </c:pt>
                <c:pt idx="76">
                  <c:v>0.0011226724344538088</c:v>
                </c:pt>
                <c:pt idx="77">
                  <c:v>0.001082968795137088</c:v>
                </c:pt>
                <c:pt idx="78">
                  <c:v>0.0009211019425735217</c:v>
                </c:pt>
                <c:pt idx="79">
                  <c:v>0.0007156792803173198</c:v>
                </c:pt>
                <c:pt idx="80">
                  <c:v>0.0006196993447300451</c:v>
                </c:pt>
              </c:numCache>
            </c:numRef>
          </c:val>
          <c:extLst>
            <c:ext xmlns:c16="http://schemas.microsoft.com/office/drawing/2014/chart" uri="{C3380CC4-5D6E-409C-BE32-E72D297353CC}">
              <c16:uniqueId val="{0000006A-902D-4251-AC41-C6D4CBCA5CD6}"/>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eautycare Glow Lip Oil FPS50+ 10g</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1-999B-42C0-A7D9-A2057CE05A51}"/>
              </c:ext>
            </c:extLst>
          </c:dPt>
          <c:dPt>
            <c:idx val="1"/>
            <c:invertIfNegative val="1"/>
            <c:bubble3D val="0"/>
            <c:spPr>
              <a:solidFill>
                <a:srgbClr val="AEABAB"/>
              </a:solidFill>
            </c:spPr>
            <c:extLst>
              <c:ext xmlns:c16="http://schemas.microsoft.com/office/drawing/2014/chart" uri="{C3380CC4-5D6E-409C-BE32-E72D297353CC}">
                <c16:uniqueId val="{00000003-999B-42C0-A7D9-A2057CE05A51}"/>
              </c:ext>
            </c:extLst>
          </c:dPt>
          <c:dPt>
            <c:idx val="2"/>
            <c:invertIfNegative val="1"/>
            <c:bubble3D val="0"/>
            <c:spPr>
              <a:solidFill>
                <a:srgbClr val="AEABAB"/>
              </a:solidFill>
            </c:spPr>
            <c:extLst>
              <c:ext xmlns:c16="http://schemas.microsoft.com/office/drawing/2014/chart" uri="{C3380CC4-5D6E-409C-BE32-E72D297353CC}">
                <c16:uniqueId val="{00000005-999B-42C0-A7D9-A2057CE05A51}"/>
              </c:ext>
            </c:extLst>
          </c:dPt>
          <c:dPt>
            <c:idx val="3"/>
            <c:invertIfNegative val="0"/>
            <c:bubble3D val="0"/>
            <c:extLst>
              <c:ext xmlns:c16="http://schemas.microsoft.com/office/drawing/2014/chart" uri="{C3380CC4-5D6E-409C-BE32-E72D297353CC}">
                <c16:uniqueId val="{00000007-999B-42C0-A7D9-A2057CE05A51}"/>
              </c:ext>
            </c:extLst>
          </c:dPt>
          <c:dPt>
            <c:idx val="4"/>
            <c:invertIfNegative val="1"/>
            <c:bubble3D val="0"/>
            <c:spPr>
              <a:solidFill>
                <a:srgbClr val="7ECAC4"/>
              </a:solidFill>
            </c:spPr>
            <c:extLst>
              <c:ext xmlns:c16="http://schemas.microsoft.com/office/drawing/2014/chart" uri="{C3380CC4-5D6E-409C-BE32-E72D297353CC}">
                <c16:uniqueId val="{00000009-999B-42C0-A7D9-A2057CE05A51}"/>
              </c:ext>
            </c:extLst>
          </c:dPt>
          <c:dPt>
            <c:idx val="5"/>
            <c:invertIfNegative val="1"/>
            <c:bubble3D val="0"/>
            <c:spPr>
              <a:solidFill>
                <a:srgbClr val="7ECAC4"/>
              </a:solidFill>
            </c:spPr>
            <c:extLst>
              <c:ext xmlns:c16="http://schemas.microsoft.com/office/drawing/2014/chart" uri="{C3380CC4-5D6E-409C-BE32-E72D297353CC}">
                <c16:uniqueId val="{0000000B-999B-42C0-A7D9-A2057CE05A51}"/>
              </c:ext>
            </c:extLst>
          </c:dPt>
          <c:dPt>
            <c:idx val="6"/>
            <c:invertIfNegative val="1"/>
            <c:bubble3D val="0"/>
            <c:spPr>
              <a:solidFill>
                <a:srgbClr val="7ECAC4"/>
              </a:solidFill>
            </c:spPr>
            <c:extLst>
              <c:ext xmlns:c16="http://schemas.microsoft.com/office/drawing/2014/chart" uri="{C3380CC4-5D6E-409C-BE32-E72D297353CC}">
                <c16:uniqueId val="{0000000D-999B-42C0-A7D9-A2057CE05A51}"/>
              </c:ext>
            </c:extLst>
          </c:dPt>
          <c:dPt>
            <c:idx val="7"/>
            <c:invertIfNegative val="1"/>
            <c:bubble3D val="0"/>
            <c:spPr>
              <a:solidFill>
                <a:srgbClr val="7ECAC4"/>
              </a:solidFill>
            </c:spPr>
            <c:extLst>
              <c:ext xmlns:c16="http://schemas.microsoft.com/office/drawing/2014/chart" uri="{C3380CC4-5D6E-409C-BE32-E72D297353CC}">
                <c16:uniqueId val="{0000000F-999B-42C0-A7D9-A2057CE05A51}"/>
              </c:ext>
            </c:extLst>
          </c:dPt>
          <c:dPt>
            <c:idx val="8"/>
            <c:invertIfNegative val="1"/>
            <c:bubble3D val="0"/>
            <c:spPr>
              <a:solidFill>
                <a:srgbClr val="7ECAC4"/>
              </a:solidFill>
            </c:spPr>
            <c:extLst>
              <c:ext xmlns:c16="http://schemas.microsoft.com/office/drawing/2014/chart" uri="{C3380CC4-5D6E-409C-BE32-E72D297353CC}">
                <c16:uniqueId val="{00000011-999B-42C0-A7D9-A2057CE05A51}"/>
              </c:ext>
            </c:extLst>
          </c:dPt>
          <c:dPt>
            <c:idx val="9"/>
            <c:invertIfNegative val="1"/>
            <c:bubble3D val="0"/>
            <c:spPr>
              <a:solidFill>
                <a:srgbClr val="7ECAC4"/>
              </a:solidFill>
            </c:spPr>
            <c:extLst>
              <c:ext xmlns:c16="http://schemas.microsoft.com/office/drawing/2014/chart" uri="{C3380CC4-5D6E-409C-BE32-E72D297353CC}">
                <c16:uniqueId val="{00000013-999B-42C0-A7D9-A2057CE05A51}"/>
              </c:ext>
            </c:extLst>
          </c:dPt>
          <c:dPt>
            <c:idx val="10"/>
            <c:invertIfNegative val="1"/>
            <c:bubble3D val="0"/>
            <c:spPr>
              <a:solidFill>
                <a:srgbClr val="AEABAB"/>
              </a:solidFill>
            </c:spPr>
            <c:extLst>
              <c:ext xmlns:c16="http://schemas.microsoft.com/office/drawing/2014/chart" uri="{C3380CC4-5D6E-409C-BE32-E72D297353CC}">
                <c16:uniqueId val="{00000015-999B-42C0-A7D9-A2057CE05A51}"/>
              </c:ext>
            </c:extLst>
          </c:dPt>
          <c:dPt>
            <c:idx val="11"/>
            <c:invertIfNegative val="1"/>
            <c:bubble3D val="0"/>
            <c:spPr>
              <a:solidFill>
                <a:srgbClr val="AEABAB"/>
              </a:solidFill>
            </c:spPr>
            <c:extLst>
              <c:ext xmlns:c16="http://schemas.microsoft.com/office/drawing/2014/chart" uri="{C3380CC4-5D6E-409C-BE32-E72D297353CC}">
                <c16:uniqueId val="{00000017-999B-42C0-A7D9-A2057CE05A51}"/>
              </c:ext>
            </c:extLst>
          </c:dPt>
          <c:dPt>
            <c:idx val="12"/>
            <c:invertIfNegative val="1"/>
            <c:bubble3D val="0"/>
            <c:spPr>
              <a:solidFill>
                <a:srgbClr val="AEABAB"/>
              </a:solidFill>
            </c:spPr>
            <c:extLst>
              <c:ext xmlns:c16="http://schemas.microsoft.com/office/drawing/2014/chart" uri="{C3380CC4-5D6E-409C-BE32-E72D297353CC}">
                <c16:uniqueId val="{00000019-999B-42C0-A7D9-A2057CE05A51}"/>
              </c:ext>
            </c:extLst>
          </c:dPt>
          <c:dPt>
            <c:idx val="13"/>
            <c:invertIfNegative val="1"/>
            <c:bubble3D val="0"/>
            <c:spPr>
              <a:solidFill>
                <a:srgbClr val="7ECAC4"/>
              </a:solidFill>
            </c:spPr>
            <c:extLst>
              <c:ext xmlns:c16="http://schemas.microsoft.com/office/drawing/2014/chart" uri="{C3380CC4-5D6E-409C-BE32-E72D297353CC}">
                <c16:uniqueId val="{0000001B-999B-42C0-A7D9-A2057CE05A51}"/>
              </c:ext>
            </c:extLst>
          </c:dPt>
          <c:dPt>
            <c:idx val="14"/>
            <c:invertIfNegative val="0"/>
            <c:bubble3D val="0"/>
            <c:spPr>
              <a:solidFill>
                <a:srgbClr val="7ECAC4"/>
              </a:solidFill>
            </c:spPr>
            <c:extLst>
              <c:ext xmlns:c16="http://schemas.microsoft.com/office/drawing/2014/chart" uri="{C3380CC4-5D6E-409C-BE32-E72D297353CC}">
                <c16:uniqueId val="{0000001D-999B-42C0-A7D9-A2057CE05A51}"/>
              </c:ext>
            </c:extLst>
          </c:dPt>
          <c:dPt>
            <c:idx val="15"/>
            <c:invertIfNegative val="1"/>
            <c:bubble3D val="0"/>
            <c:spPr>
              <a:solidFill>
                <a:srgbClr val="AEABAB"/>
              </a:solidFill>
            </c:spPr>
            <c:extLst>
              <c:ext xmlns:c16="http://schemas.microsoft.com/office/drawing/2014/chart" uri="{C3380CC4-5D6E-409C-BE32-E72D297353CC}">
                <c16:uniqueId val="{0000001F-999B-42C0-A7D9-A2057CE05A51}"/>
              </c:ext>
            </c:extLst>
          </c:dPt>
          <c:dPt>
            <c:idx val="16"/>
            <c:invertIfNegative val="1"/>
            <c:bubble3D val="0"/>
            <c:spPr>
              <a:solidFill>
                <a:srgbClr val="AEABAB"/>
              </a:solidFill>
            </c:spPr>
            <c:extLst>
              <c:ext xmlns:c16="http://schemas.microsoft.com/office/drawing/2014/chart" uri="{C3380CC4-5D6E-409C-BE32-E72D297353CC}">
                <c16:uniqueId val="{00000021-999B-42C0-A7D9-A2057CE05A51}"/>
              </c:ext>
            </c:extLst>
          </c:dPt>
          <c:dPt>
            <c:idx val="17"/>
            <c:invertIfNegative val="0"/>
            <c:bubble3D val="0"/>
            <c:extLst>
              <c:ext xmlns:c16="http://schemas.microsoft.com/office/drawing/2014/chart" uri="{C3380CC4-5D6E-409C-BE32-E72D297353CC}">
                <c16:uniqueId val="{00000023-999B-42C0-A7D9-A2057CE05A51}"/>
              </c:ext>
            </c:extLst>
          </c:dPt>
          <c:dPt>
            <c:idx val="18"/>
            <c:invertIfNegative val="1"/>
            <c:bubble3D val="0"/>
            <c:spPr>
              <a:solidFill>
                <a:srgbClr val="AEABAB"/>
              </a:solidFill>
            </c:spPr>
            <c:extLst>
              <c:ext xmlns:c16="http://schemas.microsoft.com/office/drawing/2014/chart" uri="{C3380CC4-5D6E-409C-BE32-E72D297353CC}">
                <c16:uniqueId val="{00000025-999B-42C0-A7D9-A2057CE05A51}"/>
              </c:ext>
            </c:extLst>
          </c:dPt>
          <c:dPt>
            <c:idx val="19"/>
            <c:invertIfNegative val="1"/>
            <c:bubble3D val="0"/>
            <c:spPr>
              <a:solidFill>
                <a:srgbClr val="AEABAB"/>
              </a:solidFill>
            </c:spPr>
            <c:extLst>
              <c:ext xmlns:c16="http://schemas.microsoft.com/office/drawing/2014/chart" uri="{C3380CC4-5D6E-409C-BE32-E72D297353CC}">
                <c16:uniqueId val="{00000027-999B-42C0-A7D9-A2057CE05A51}"/>
              </c:ext>
            </c:extLst>
          </c:dPt>
          <c:dPt>
            <c:idx val="20"/>
            <c:invertIfNegative val="1"/>
            <c:bubble3D val="0"/>
            <c:spPr>
              <a:solidFill>
                <a:srgbClr val="7ECAC4"/>
              </a:solidFill>
            </c:spPr>
            <c:extLst>
              <c:ext xmlns:c16="http://schemas.microsoft.com/office/drawing/2014/chart" uri="{C3380CC4-5D6E-409C-BE32-E72D297353CC}">
                <c16:uniqueId val="{00000029-999B-42C0-A7D9-A2057CE05A51}"/>
              </c:ext>
            </c:extLst>
          </c:dPt>
          <c:dPt>
            <c:idx val="21"/>
            <c:invertIfNegative val="1"/>
            <c:bubble3D val="0"/>
            <c:spPr>
              <a:solidFill>
                <a:srgbClr val="AEABAB"/>
              </a:solidFill>
            </c:spPr>
            <c:extLst>
              <c:ext xmlns:c16="http://schemas.microsoft.com/office/drawing/2014/chart" uri="{C3380CC4-5D6E-409C-BE32-E72D297353CC}">
                <c16:uniqueId val="{0000002B-999B-42C0-A7D9-A2057CE05A51}"/>
              </c:ext>
            </c:extLst>
          </c:dPt>
          <c:dPt>
            <c:idx val="22"/>
            <c:invertIfNegative val="1"/>
            <c:bubble3D val="0"/>
            <c:spPr>
              <a:solidFill>
                <a:srgbClr val="AEABAB"/>
              </a:solidFill>
            </c:spPr>
            <c:extLst>
              <c:ext xmlns:c16="http://schemas.microsoft.com/office/drawing/2014/chart" uri="{C3380CC4-5D6E-409C-BE32-E72D297353CC}">
                <c16:uniqueId val="{0000002D-999B-42C0-A7D9-A2057CE05A51}"/>
              </c:ext>
            </c:extLst>
          </c:dPt>
          <c:dPt>
            <c:idx val="23"/>
            <c:invertIfNegative val="1"/>
            <c:bubble3D val="0"/>
            <c:spPr>
              <a:solidFill>
                <a:srgbClr val="7ECAC4"/>
              </a:solidFill>
            </c:spPr>
            <c:extLst>
              <c:ext xmlns:c16="http://schemas.microsoft.com/office/drawing/2014/chart" uri="{C3380CC4-5D6E-409C-BE32-E72D297353CC}">
                <c16:uniqueId val="{0000002F-999B-42C0-A7D9-A2057CE05A51}"/>
              </c:ext>
            </c:extLst>
          </c:dPt>
          <c:dPt>
            <c:idx val="24"/>
            <c:invertIfNegative val="1"/>
            <c:bubble3D val="0"/>
            <c:spPr>
              <a:solidFill>
                <a:srgbClr val="AEABAB"/>
              </a:solidFill>
            </c:spPr>
            <c:extLst>
              <c:ext xmlns:c16="http://schemas.microsoft.com/office/drawing/2014/chart" uri="{C3380CC4-5D6E-409C-BE32-E72D297353CC}">
                <c16:uniqueId val="{00000031-999B-42C0-A7D9-A2057CE05A51}"/>
              </c:ext>
            </c:extLst>
          </c:dPt>
          <c:dPt>
            <c:idx val="25"/>
            <c:invertIfNegative val="1"/>
            <c:bubble3D val="0"/>
            <c:spPr>
              <a:solidFill>
                <a:srgbClr val="AEABAB"/>
              </a:solidFill>
            </c:spPr>
            <c:extLst>
              <c:ext xmlns:c16="http://schemas.microsoft.com/office/drawing/2014/chart" uri="{C3380CC4-5D6E-409C-BE32-E72D297353CC}">
                <c16:uniqueId val="{00000033-999B-42C0-A7D9-A2057CE05A51}"/>
              </c:ext>
            </c:extLst>
          </c:dPt>
          <c:dPt>
            <c:idx val="26"/>
            <c:invertIfNegative val="1"/>
            <c:bubble3D val="0"/>
            <c:spPr>
              <a:solidFill>
                <a:srgbClr val="AEABAB"/>
              </a:solidFill>
            </c:spPr>
            <c:extLst>
              <c:ext xmlns:c16="http://schemas.microsoft.com/office/drawing/2014/chart" uri="{C3380CC4-5D6E-409C-BE32-E72D297353CC}">
                <c16:uniqueId val="{00000035-999B-42C0-A7D9-A2057CE05A51}"/>
              </c:ext>
            </c:extLst>
          </c:dPt>
          <c:dPt>
            <c:idx val="27"/>
            <c:invertIfNegative val="1"/>
            <c:bubble3D val="0"/>
            <c:spPr>
              <a:solidFill>
                <a:srgbClr val="AEABAB"/>
              </a:solidFill>
            </c:spPr>
            <c:extLst>
              <c:ext xmlns:c16="http://schemas.microsoft.com/office/drawing/2014/chart" uri="{C3380CC4-5D6E-409C-BE32-E72D297353CC}">
                <c16:uniqueId val="{00000037-999B-42C0-A7D9-A2057CE05A51}"/>
              </c:ext>
            </c:extLst>
          </c:dPt>
          <c:dPt>
            <c:idx val="28"/>
            <c:invertIfNegative val="1"/>
            <c:bubble3D val="0"/>
            <c:spPr>
              <a:solidFill>
                <a:srgbClr val="AEABAB"/>
              </a:solidFill>
            </c:spPr>
            <c:extLst>
              <c:ext xmlns:c16="http://schemas.microsoft.com/office/drawing/2014/chart" uri="{C3380CC4-5D6E-409C-BE32-E72D297353CC}">
                <c16:uniqueId val="{00000039-999B-42C0-A7D9-A2057CE05A51}"/>
              </c:ext>
            </c:extLst>
          </c:dPt>
          <c:dPt>
            <c:idx val="29"/>
            <c:invertIfNegative val="1"/>
            <c:bubble3D val="0"/>
            <c:spPr>
              <a:solidFill>
                <a:srgbClr val="AEABAB"/>
              </a:solidFill>
            </c:spPr>
            <c:extLst>
              <c:ext xmlns:c16="http://schemas.microsoft.com/office/drawing/2014/chart" uri="{C3380CC4-5D6E-409C-BE32-E72D297353CC}">
                <c16:uniqueId val="{0000003B-999B-42C0-A7D9-A2057CE05A51}"/>
              </c:ext>
            </c:extLst>
          </c:dPt>
          <c:dPt>
            <c:idx val="30"/>
            <c:invertIfNegative val="1"/>
            <c:bubble3D val="0"/>
            <c:spPr>
              <a:solidFill>
                <a:srgbClr val="AEABAB"/>
              </a:solidFill>
            </c:spPr>
            <c:extLst>
              <c:ext xmlns:c16="http://schemas.microsoft.com/office/drawing/2014/chart" uri="{C3380CC4-5D6E-409C-BE32-E72D297353CC}">
                <c16:uniqueId val="{0000003D-999B-42C0-A7D9-A2057CE05A51}"/>
              </c:ext>
            </c:extLst>
          </c:dPt>
          <c:dPt>
            <c:idx val="31"/>
            <c:invertIfNegative val="1"/>
            <c:bubble3D val="0"/>
            <c:spPr>
              <a:solidFill>
                <a:srgbClr val="AEABAB"/>
              </a:solidFill>
            </c:spPr>
            <c:extLst>
              <c:ext xmlns:c16="http://schemas.microsoft.com/office/drawing/2014/chart" uri="{C3380CC4-5D6E-409C-BE32-E72D297353CC}">
                <c16:uniqueId val="{0000003F-999B-42C0-A7D9-A2057CE05A51}"/>
              </c:ext>
            </c:extLst>
          </c:dPt>
          <c:dPt>
            <c:idx val="32"/>
            <c:invertIfNegative val="0"/>
            <c:bubble3D val="0"/>
            <c:extLst>
              <c:ext xmlns:c16="http://schemas.microsoft.com/office/drawing/2014/chart" uri="{C3380CC4-5D6E-409C-BE32-E72D297353CC}">
                <c16:uniqueId val="{00000041-999B-42C0-A7D9-A2057CE05A51}"/>
              </c:ext>
            </c:extLst>
          </c:dPt>
          <c:dPt>
            <c:idx val="33"/>
            <c:invertIfNegative val="1"/>
            <c:bubble3D val="0"/>
            <c:spPr>
              <a:solidFill>
                <a:srgbClr val="7ECAC4"/>
              </a:solidFill>
            </c:spPr>
            <c:extLst>
              <c:ext xmlns:c16="http://schemas.microsoft.com/office/drawing/2014/chart" uri="{C3380CC4-5D6E-409C-BE32-E72D297353CC}">
                <c16:uniqueId val="{00000043-999B-42C0-A7D9-A2057CE05A51}"/>
              </c:ext>
            </c:extLst>
          </c:dPt>
          <c:dPt>
            <c:idx val="34"/>
            <c:invertIfNegative val="1"/>
            <c:bubble3D val="0"/>
            <c:spPr>
              <a:solidFill>
                <a:srgbClr val="AEABAB"/>
              </a:solidFill>
            </c:spPr>
            <c:extLst>
              <c:ext xmlns:c16="http://schemas.microsoft.com/office/drawing/2014/chart" uri="{C3380CC4-5D6E-409C-BE32-E72D297353CC}">
                <c16:uniqueId val="{00000045-999B-42C0-A7D9-A2057CE05A51}"/>
              </c:ext>
            </c:extLst>
          </c:dPt>
          <c:dPt>
            <c:idx val="35"/>
            <c:invertIfNegative val="1"/>
            <c:bubble3D val="0"/>
            <c:spPr>
              <a:solidFill>
                <a:srgbClr val="AEABAB"/>
              </a:solidFill>
            </c:spPr>
            <c:extLst>
              <c:ext xmlns:c16="http://schemas.microsoft.com/office/drawing/2014/chart" uri="{C3380CC4-5D6E-409C-BE32-E72D297353CC}">
                <c16:uniqueId val="{00000047-999B-42C0-A7D9-A2057CE05A51}"/>
              </c:ext>
            </c:extLst>
          </c:dPt>
          <c:dPt>
            <c:idx val="36"/>
            <c:invertIfNegative val="1"/>
            <c:bubble3D val="0"/>
            <c:spPr>
              <a:solidFill>
                <a:srgbClr val="7ECAC4"/>
              </a:solidFill>
            </c:spPr>
            <c:extLst>
              <c:ext xmlns:c16="http://schemas.microsoft.com/office/drawing/2014/chart" uri="{C3380CC4-5D6E-409C-BE32-E72D297353CC}">
                <c16:uniqueId val="{00000049-999B-42C0-A7D9-A2057CE05A51}"/>
              </c:ext>
            </c:extLst>
          </c:dPt>
          <c:dPt>
            <c:idx val="37"/>
            <c:invertIfNegative val="1"/>
            <c:bubble3D val="0"/>
            <c:spPr>
              <a:solidFill>
                <a:srgbClr val="AEABAB"/>
              </a:solidFill>
            </c:spPr>
            <c:extLst>
              <c:ext xmlns:c16="http://schemas.microsoft.com/office/drawing/2014/chart" uri="{C3380CC4-5D6E-409C-BE32-E72D297353CC}">
                <c16:uniqueId val="{0000004B-999B-42C0-A7D9-A2057CE05A51}"/>
              </c:ext>
            </c:extLst>
          </c:dPt>
          <c:dPt>
            <c:idx val="38"/>
            <c:invertIfNegative val="1"/>
            <c:bubble3D val="0"/>
            <c:spPr>
              <a:solidFill>
                <a:srgbClr val="AEABAB"/>
              </a:solidFill>
            </c:spPr>
            <c:extLst>
              <c:ext xmlns:c16="http://schemas.microsoft.com/office/drawing/2014/chart" uri="{C3380CC4-5D6E-409C-BE32-E72D297353CC}">
                <c16:uniqueId val="{0000004D-999B-42C0-A7D9-A2057CE05A51}"/>
              </c:ext>
            </c:extLst>
          </c:dPt>
          <c:dPt>
            <c:idx val="39"/>
            <c:invertIfNegative val="1"/>
            <c:bubble3D val="0"/>
            <c:spPr>
              <a:solidFill>
                <a:srgbClr val="AEABAB"/>
              </a:solidFill>
            </c:spPr>
            <c:extLst>
              <c:ext xmlns:c16="http://schemas.microsoft.com/office/drawing/2014/chart" uri="{C3380CC4-5D6E-409C-BE32-E72D297353CC}">
                <c16:uniqueId val="{0000004F-999B-42C0-A7D9-A2057CE05A51}"/>
              </c:ext>
            </c:extLst>
          </c:dPt>
          <c:dPt>
            <c:idx val="40"/>
            <c:invertIfNegative val="1"/>
            <c:bubble3D val="0"/>
            <c:spPr>
              <a:solidFill>
                <a:srgbClr val="AEABAB"/>
              </a:solidFill>
            </c:spPr>
            <c:extLst>
              <c:ext xmlns:c16="http://schemas.microsoft.com/office/drawing/2014/chart" uri="{C3380CC4-5D6E-409C-BE32-E72D297353CC}">
                <c16:uniqueId val="{00000051-999B-42C0-A7D9-A2057CE05A51}"/>
              </c:ext>
            </c:extLst>
          </c:dPt>
          <c:dPt>
            <c:idx val="41"/>
            <c:invertIfNegative val="1"/>
            <c:bubble3D val="0"/>
            <c:spPr>
              <a:solidFill>
                <a:srgbClr val="AEABAB"/>
              </a:solidFill>
            </c:spPr>
            <c:extLst>
              <c:ext xmlns:c16="http://schemas.microsoft.com/office/drawing/2014/chart" uri="{C3380CC4-5D6E-409C-BE32-E72D297353CC}">
                <c16:uniqueId val="{00000053-999B-42C0-A7D9-A2057CE05A51}"/>
              </c:ext>
            </c:extLst>
          </c:dPt>
          <c:dPt>
            <c:idx val="42"/>
            <c:invertIfNegative val="1"/>
            <c:bubble3D val="0"/>
            <c:spPr>
              <a:solidFill>
                <a:srgbClr val="AEABAB"/>
              </a:solidFill>
            </c:spPr>
            <c:extLst>
              <c:ext xmlns:c16="http://schemas.microsoft.com/office/drawing/2014/chart" uri="{C3380CC4-5D6E-409C-BE32-E72D297353CC}">
                <c16:uniqueId val="{00000055-999B-42C0-A7D9-A2057CE05A51}"/>
              </c:ext>
            </c:extLst>
          </c:dPt>
          <c:dPt>
            <c:idx val="43"/>
            <c:invertIfNegative val="1"/>
            <c:bubble3D val="0"/>
            <c:spPr>
              <a:solidFill>
                <a:srgbClr val="AEABAB"/>
              </a:solidFill>
            </c:spPr>
            <c:extLst>
              <c:ext xmlns:c16="http://schemas.microsoft.com/office/drawing/2014/chart" uri="{C3380CC4-5D6E-409C-BE32-E72D297353CC}">
                <c16:uniqueId val="{00000057-999B-42C0-A7D9-A2057CE05A51}"/>
              </c:ext>
            </c:extLst>
          </c:dPt>
          <c:dPt>
            <c:idx val="44"/>
            <c:invertIfNegative val="0"/>
            <c:bubble3D val="0"/>
            <c:extLst>
              <c:ext xmlns:c16="http://schemas.microsoft.com/office/drawing/2014/chart" uri="{C3380CC4-5D6E-409C-BE32-E72D297353CC}">
                <c16:uniqueId val="{00000059-999B-42C0-A7D9-A2057CE05A51}"/>
              </c:ext>
            </c:extLst>
          </c:dPt>
          <c:dPt>
            <c:idx val="45"/>
            <c:invertIfNegative val="1"/>
            <c:bubble3D val="0"/>
            <c:spPr>
              <a:solidFill>
                <a:srgbClr val="7ECAC4"/>
              </a:solidFill>
            </c:spPr>
            <c:extLst>
              <c:ext xmlns:c16="http://schemas.microsoft.com/office/drawing/2014/chart" uri="{C3380CC4-5D6E-409C-BE32-E72D297353CC}">
                <c16:uniqueId val="{0000005B-999B-42C0-A7D9-A2057CE05A51}"/>
              </c:ext>
            </c:extLst>
          </c:dPt>
          <c:dPt>
            <c:idx val="46"/>
            <c:invertIfNegative val="1"/>
            <c:bubble3D val="0"/>
            <c:spPr>
              <a:solidFill>
                <a:srgbClr val="7ECAC4"/>
              </a:solidFill>
            </c:spPr>
            <c:extLst>
              <c:ext xmlns:c16="http://schemas.microsoft.com/office/drawing/2014/chart" uri="{C3380CC4-5D6E-409C-BE32-E72D297353CC}">
                <c16:uniqueId val="{0000005D-999B-42C0-A7D9-A2057CE05A51}"/>
              </c:ext>
            </c:extLst>
          </c:dPt>
          <c:dPt>
            <c:idx val="47"/>
            <c:invertIfNegative val="1"/>
            <c:bubble3D val="0"/>
            <c:spPr>
              <a:solidFill>
                <a:srgbClr val="AEABAB"/>
              </a:solidFill>
            </c:spPr>
            <c:extLst>
              <c:ext xmlns:c16="http://schemas.microsoft.com/office/drawing/2014/chart" uri="{C3380CC4-5D6E-409C-BE32-E72D297353CC}">
                <c16:uniqueId val="{0000005F-999B-42C0-A7D9-A2057CE05A51}"/>
              </c:ext>
            </c:extLst>
          </c:dPt>
          <c:dPt>
            <c:idx val="48"/>
            <c:invertIfNegative val="1"/>
            <c:bubble3D val="0"/>
            <c:spPr>
              <a:solidFill>
                <a:srgbClr val="AEABAB"/>
              </a:solidFill>
            </c:spPr>
            <c:extLst>
              <c:ext xmlns:c16="http://schemas.microsoft.com/office/drawing/2014/chart" uri="{C3380CC4-5D6E-409C-BE32-E72D297353CC}">
                <c16:uniqueId val="{00000061-999B-42C0-A7D9-A2057CE05A51}"/>
              </c:ext>
            </c:extLst>
          </c:dPt>
          <c:dPt>
            <c:idx val="49"/>
            <c:invertIfNegative val="0"/>
            <c:bubble3D val="0"/>
            <c:spPr>
              <a:solidFill>
                <a:srgbClr val="7ECAC4"/>
              </a:solidFill>
            </c:spPr>
            <c:extLst>
              <c:ext xmlns:c16="http://schemas.microsoft.com/office/drawing/2014/chart" uri="{C3380CC4-5D6E-409C-BE32-E72D297353CC}">
                <c16:uniqueId val="{00000063-999B-42C0-A7D9-A2057CE05A51}"/>
              </c:ext>
            </c:extLst>
          </c:dPt>
          <c:dPt>
            <c:idx val="50"/>
            <c:invertIfNegative val="0"/>
            <c:bubble3D val="0"/>
            <c:spPr>
              <a:solidFill>
                <a:srgbClr val="7ECAC4"/>
              </a:solidFill>
            </c:spPr>
            <c:extLst>
              <c:ext xmlns:c16="http://schemas.microsoft.com/office/drawing/2014/chart" uri="{C3380CC4-5D6E-409C-BE32-E72D297353CC}">
                <c16:uniqueId val="{00000065-999B-42C0-A7D9-A2057CE05A51}"/>
              </c:ext>
            </c:extLst>
          </c:dPt>
          <c:dPt>
            <c:idx val="51"/>
            <c:invertIfNegative val="1"/>
            <c:bubble3D val="0"/>
            <c:spPr>
              <a:solidFill>
                <a:srgbClr val="7ECAC4"/>
              </a:solidFill>
            </c:spPr>
            <c:extLst>
              <c:ext xmlns:c16="http://schemas.microsoft.com/office/drawing/2014/chart" uri="{C3380CC4-5D6E-409C-BE32-E72D297353CC}">
                <c16:uniqueId val="{00000067-999B-42C0-A7D9-A2057CE05A51}"/>
              </c:ext>
            </c:extLst>
          </c:dPt>
          <c:dPt>
            <c:idx val="52"/>
            <c:invertIfNegative val="1"/>
            <c:bubble3D val="0"/>
            <c:spPr>
              <a:solidFill>
                <a:srgbClr val="7ECAC4"/>
              </a:solidFill>
            </c:spPr>
            <c:extLst>
              <c:ext xmlns:c16="http://schemas.microsoft.com/office/drawing/2014/chart" uri="{C3380CC4-5D6E-409C-BE32-E72D297353CC}">
                <c16:uniqueId val="{00000069-999B-42C0-A7D9-A2057CE05A51}"/>
              </c:ext>
            </c:extLst>
          </c:dPt>
          <c:dPt>
            <c:idx val="53"/>
            <c:invertIfNegative val="1"/>
            <c:bubble3D val="0"/>
            <c:spPr>
              <a:solidFill>
                <a:srgbClr val="7ECAC4"/>
              </a:solidFill>
            </c:spPr>
            <c:extLst>
              <c:ext xmlns:c16="http://schemas.microsoft.com/office/drawing/2014/chart" uri="{C3380CC4-5D6E-409C-BE32-E72D297353CC}">
                <c16:uniqueId val="{0000006B-999B-42C0-A7D9-A2057CE05A51}"/>
              </c:ext>
            </c:extLst>
          </c:dPt>
          <c:dPt>
            <c:idx val="54"/>
            <c:invertIfNegative val="1"/>
            <c:bubble3D val="0"/>
            <c:spPr>
              <a:solidFill>
                <a:srgbClr val="AEABAB"/>
              </a:solidFill>
            </c:spPr>
            <c:extLst>
              <c:ext xmlns:c16="http://schemas.microsoft.com/office/drawing/2014/chart" uri="{C3380CC4-5D6E-409C-BE32-E72D297353CC}">
                <c16:uniqueId val="{0000006D-999B-42C0-A7D9-A2057CE05A51}"/>
              </c:ext>
            </c:extLst>
          </c:dPt>
          <c:dPt>
            <c:idx val="55"/>
            <c:invertIfNegative val="1"/>
            <c:bubble3D val="0"/>
            <c:spPr>
              <a:solidFill>
                <a:srgbClr val="AEABAB"/>
              </a:solidFill>
            </c:spPr>
            <c:extLst>
              <c:ext xmlns:c16="http://schemas.microsoft.com/office/drawing/2014/chart" uri="{C3380CC4-5D6E-409C-BE32-E72D297353CC}">
                <c16:uniqueId val="{0000006F-999B-42C0-A7D9-A2057CE05A51}"/>
              </c:ext>
            </c:extLst>
          </c:dPt>
          <c:dPt>
            <c:idx val="56"/>
            <c:invertIfNegative val="1"/>
            <c:bubble3D val="0"/>
            <c:spPr>
              <a:solidFill>
                <a:srgbClr val="AEABAB"/>
              </a:solidFill>
            </c:spPr>
            <c:extLst>
              <c:ext xmlns:c16="http://schemas.microsoft.com/office/drawing/2014/chart" uri="{C3380CC4-5D6E-409C-BE32-E72D297353CC}">
                <c16:uniqueId val="{00000071-999B-42C0-A7D9-A2057CE05A51}"/>
              </c:ext>
            </c:extLst>
          </c:dPt>
          <c:dPt>
            <c:idx val="57"/>
            <c:invertIfNegative val="1"/>
            <c:bubble3D val="0"/>
            <c:spPr>
              <a:solidFill>
                <a:srgbClr val="7ECAC4"/>
              </a:solidFill>
            </c:spPr>
            <c:extLst>
              <c:ext xmlns:c16="http://schemas.microsoft.com/office/drawing/2014/chart" uri="{C3380CC4-5D6E-409C-BE32-E72D297353CC}">
                <c16:uniqueId val="{00000073-999B-42C0-A7D9-A2057CE05A51}"/>
              </c:ext>
            </c:extLst>
          </c:dPt>
          <c:dPt>
            <c:idx val="58"/>
            <c:invertIfNegative val="1"/>
            <c:bubble3D val="0"/>
            <c:spPr>
              <a:solidFill>
                <a:srgbClr val="AEABAB"/>
              </a:solidFill>
            </c:spPr>
            <c:extLst>
              <c:ext xmlns:c16="http://schemas.microsoft.com/office/drawing/2014/chart" uri="{C3380CC4-5D6E-409C-BE32-E72D297353CC}">
                <c16:uniqueId val="{00000075-999B-42C0-A7D9-A2057CE05A51}"/>
              </c:ext>
            </c:extLst>
          </c:dPt>
          <c:dPt>
            <c:idx val="59"/>
            <c:invertIfNegative val="1"/>
            <c:bubble3D val="0"/>
            <c:spPr>
              <a:solidFill>
                <a:srgbClr val="AEABAB"/>
              </a:solidFill>
            </c:spPr>
            <c:extLst>
              <c:ext xmlns:c16="http://schemas.microsoft.com/office/drawing/2014/chart" uri="{C3380CC4-5D6E-409C-BE32-E72D297353CC}">
                <c16:uniqueId val="{00000077-999B-42C0-A7D9-A2057CE05A51}"/>
              </c:ext>
            </c:extLst>
          </c:dPt>
          <c:dPt>
            <c:idx val="60"/>
            <c:invertIfNegative val="1"/>
            <c:bubble3D val="0"/>
            <c:spPr>
              <a:solidFill>
                <a:srgbClr val="AEABAB"/>
              </a:solidFill>
            </c:spPr>
            <c:extLst>
              <c:ext xmlns:c16="http://schemas.microsoft.com/office/drawing/2014/chart" uri="{C3380CC4-5D6E-409C-BE32-E72D297353CC}">
                <c16:uniqueId val="{00000079-999B-42C0-A7D9-A2057CE05A51}"/>
              </c:ext>
            </c:extLst>
          </c:dPt>
          <c:dPt>
            <c:idx val="61"/>
            <c:invertIfNegative val="1"/>
            <c:bubble3D val="0"/>
            <c:spPr>
              <a:solidFill>
                <a:srgbClr val="7ECAC4"/>
              </a:solidFill>
            </c:spPr>
            <c:extLst>
              <c:ext xmlns:c16="http://schemas.microsoft.com/office/drawing/2014/chart" uri="{C3380CC4-5D6E-409C-BE32-E72D297353CC}">
                <c16:uniqueId val="{0000007B-999B-42C0-A7D9-A2057CE05A51}"/>
              </c:ext>
            </c:extLst>
          </c:dPt>
          <c:dPt>
            <c:idx val="62"/>
            <c:invertIfNegative val="1"/>
            <c:bubble3D val="0"/>
            <c:spPr>
              <a:solidFill>
                <a:srgbClr val="7ECAC4"/>
              </a:solidFill>
            </c:spPr>
            <c:extLst>
              <c:ext xmlns:c16="http://schemas.microsoft.com/office/drawing/2014/chart" uri="{C3380CC4-5D6E-409C-BE32-E72D297353CC}">
                <c16:uniqueId val="{0000007D-999B-42C0-A7D9-A2057CE05A51}"/>
              </c:ext>
            </c:extLst>
          </c:dPt>
          <c:dPt>
            <c:idx val="63"/>
            <c:invertIfNegative val="1"/>
            <c:bubble3D val="0"/>
            <c:spPr>
              <a:solidFill>
                <a:srgbClr val="006C6D"/>
              </a:solidFill>
            </c:spPr>
            <c:extLst>
              <c:ext xmlns:c16="http://schemas.microsoft.com/office/drawing/2014/chart" uri="{C3380CC4-5D6E-409C-BE32-E72D297353CC}">
                <c16:uniqueId val="{0000007F-999B-42C0-A7D9-A2057CE05A51}"/>
              </c:ext>
            </c:extLst>
          </c:dPt>
          <c:dPt>
            <c:idx val="64"/>
            <c:invertIfNegative val="1"/>
            <c:bubble3D val="0"/>
            <c:spPr>
              <a:solidFill>
                <a:srgbClr val="7ECAC4"/>
              </a:solidFill>
            </c:spPr>
            <c:extLst>
              <c:ext xmlns:c16="http://schemas.microsoft.com/office/drawing/2014/chart" uri="{C3380CC4-5D6E-409C-BE32-E72D297353CC}">
                <c16:uniqueId val="{00000081-999B-42C0-A7D9-A2057CE05A51}"/>
              </c:ext>
            </c:extLst>
          </c:dPt>
          <c:dPt>
            <c:idx val="65"/>
            <c:invertIfNegative val="1"/>
            <c:bubble3D val="0"/>
            <c:spPr>
              <a:solidFill>
                <a:srgbClr val="7ECAC4"/>
              </a:solidFill>
            </c:spPr>
            <c:extLst>
              <c:ext xmlns:c16="http://schemas.microsoft.com/office/drawing/2014/chart" uri="{C3380CC4-5D6E-409C-BE32-E72D297353CC}">
                <c16:uniqueId val="{00000083-999B-42C0-A7D9-A2057CE05A51}"/>
              </c:ext>
            </c:extLst>
          </c:dPt>
          <c:dPt>
            <c:idx val="66"/>
            <c:invertIfNegative val="1"/>
            <c:bubble3D val="0"/>
            <c:spPr>
              <a:solidFill>
                <a:srgbClr val="AEABAB"/>
              </a:solidFill>
            </c:spPr>
            <c:extLst>
              <c:ext xmlns:c16="http://schemas.microsoft.com/office/drawing/2014/chart" uri="{C3380CC4-5D6E-409C-BE32-E72D297353CC}">
                <c16:uniqueId val="{00000085-999B-42C0-A7D9-A2057CE05A51}"/>
              </c:ext>
            </c:extLst>
          </c:dPt>
          <c:dPt>
            <c:idx val="67"/>
            <c:invertIfNegative val="1"/>
            <c:bubble3D val="0"/>
            <c:spPr>
              <a:solidFill>
                <a:srgbClr val="AEABAB"/>
              </a:solidFill>
            </c:spPr>
            <c:extLst>
              <c:ext xmlns:c16="http://schemas.microsoft.com/office/drawing/2014/chart" uri="{C3380CC4-5D6E-409C-BE32-E72D297353CC}">
                <c16:uniqueId val="{00000087-999B-42C0-A7D9-A2057CE05A51}"/>
              </c:ext>
            </c:extLst>
          </c:dPt>
          <c:dPt>
            <c:idx val="68"/>
            <c:invertIfNegative val="1"/>
            <c:bubble3D val="0"/>
            <c:spPr>
              <a:solidFill>
                <a:srgbClr val="7ECAC4"/>
              </a:solidFill>
            </c:spPr>
            <c:extLst>
              <c:ext xmlns:c16="http://schemas.microsoft.com/office/drawing/2014/chart" uri="{C3380CC4-5D6E-409C-BE32-E72D297353CC}">
                <c16:uniqueId val="{00000089-999B-42C0-A7D9-A2057CE05A51}"/>
              </c:ext>
            </c:extLst>
          </c:dPt>
          <c:dPt>
            <c:idx val="69"/>
            <c:invertIfNegative val="1"/>
            <c:bubble3D val="0"/>
            <c:spPr>
              <a:solidFill>
                <a:srgbClr val="AEABAB"/>
              </a:solidFill>
            </c:spPr>
            <c:extLst>
              <c:ext xmlns:c16="http://schemas.microsoft.com/office/drawing/2014/chart" uri="{C3380CC4-5D6E-409C-BE32-E72D297353CC}">
                <c16:uniqueId val="{0000008B-999B-42C0-A7D9-A2057CE05A51}"/>
              </c:ext>
            </c:extLst>
          </c:dPt>
          <c:dPt>
            <c:idx val="70"/>
            <c:invertIfNegative val="1"/>
            <c:bubble3D val="0"/>
            <c:spPr>
              <a:solidFill>
                <a:srgbClr val="7ECAC4"/>
              </a:solidFill>
            </c:spPr>
            <c:extLst>
              <c:ext xmlns:c16="http://schemas.microsoft.com/office/drawing/2014/chart" uri="{C3380CC4-5D6E-409C-BE32-E72D297353CC}">
                <c16:uniqueId val="{0000008D-999B-42C0-A7D9-A2057CE05A51}"/>
              </c:ext>
            </c:extLst>
          </c:dPt>
          <c:dPt>
            <c:idx val="71"/>
            <c:invertIfNegative val="1"/>
            <c:bubble3D val="0"/>
            <c:spPr>
              <a:solidFill>
                <a:srgbClr val="7ECAC4"/>
              </a:solidFill>
            </c:spPr>
            <c:extLst>
              <c:ext xmlns:c16="http://schemas.microsoft.com/office/drawing/2014/chart" uri="{C3380CC4-5D6E-409C-BE32-E72D297353CC}">
                <c16:uniqueId val="{0000008F-999B-42C0-A7D9-A2057CE05A51}"/>
              </c:ext>
            </c:extLst>
          </c:dPt>
          <c:dPt>
            <c:idx val="72"/>
            <c:invertIfNegative val="1"/>
            <c:bubble3D val="0"/>
            <c:spPr>
              <a:solidFill>
                <a:srgbClr val="7ECAC4"/>
              </a:solidFill>
            </c:spPr>
            <c:extLst>
              <c:ext xmlns:c16="http://schemas.microsoft.com/office/drawing/2014/chart" uri="{C3380CC4-5D6E-409C-BE32-E72D297353CC}">
                <c16:uniqueId val="{00000091-999B-42C0-A7D9-A2057CE05A51}"/>
              </c:ext>
            </c:extLst>
          </c:dPt>
          <c:dPt>
            <c:idx val="73"/>
            <c:invertIfNegative val="1"/>
            <c:bubble3D val="0"/>
            <c:spPr>
              <a:solidFill>
                <a:srgbClr val="AEABAB"/>
              </a:solidFill>
            </c:spPr>
            <c:extLst>
              <c:ext xmlns:c16="http://schemas.microsoft.com/office/drawing/2014/chart" uri="{C3380CC4-5D6E-409C-BE32-E72D297353CC}">
                <c16:uniqueId val="{00000093-999B-42C0-A7D9-A2057CE05A51}"/>
              </c:ext>
            </c:extLst>
          </c:dPt>
          <c:dPt>
            <c:idx val="74"/>
            <c:invertIfNegative val="1"/>
            <c:bubble3D val="0"/>
            <c:spPr>
              <a:solidFill>
                <a:srgbClr val="7ECAC4"/>
              </a:solidFill>
            </c:spPr>
            <c:extLst>
              <c:ext xmlns:c16="http://schemas.microsoft.com/office/drawing/2014/chart" uri="{C3380CC4-5D6E-409C-BE32-E72D297353CC}">
                <c16:uniqueId val="{00000095-999B-42C0-A7D9-A2057CE05A51}"/>
              </c:ext>
            </c:extLst>
          </c:dPt>
          <c:dPt>
            <c:idx val="75"/>
            <c:invertIfNegative val="1"/>
            <c:bubble3D val="0"/>
            <c:spPr>
              <a:solidFill>
                <a:srgbClr val="7ECAC4"/>
              </a:solidFill>
            </c:spPr>
            <c:extLst>
              <c:ext xmlns:c16="http://schemas.microsoft.com/office/drawing/2014/chart" uri="{C3380CC4-5D6E-409C-BE32-E72D297353CC}">
                <c16:uniqueId val="{00000097-999B-42C0-A7D9-A2057CE05A51}"/>
              </c:ext>
            </c:extLst>
          </c:dPt>
          <c:dPt>
            <c:idx val="76"/>
            <c:invertIfNegative val="1"/>
            <c:bubble3D val="0"/>
            <c:spPr>
              <a:solidFill>
                <a:srgbClr val="AEABAB"/>
              </a:solidFill>
            </c:spPr>
            <c:extLst>
              <c:ext xmlns:c16="http://schemas.microsoft.com/office/drawing/2014/chart" uri="{C3380CC4-5D6E-409C-BE32-E72D297353CC}">
                <c16:uniqueId val="{00000099-999B-42C0-A7D9-A2057CE05A51}"/>
              </c:ext>
            </c:extLst>
          </c:dPt>
          <c:dPt>
            <c:idx val="77"/>
            <c:invertIfNegative val="1"/>
            <c:bubble3D val="0"/>
            <c:spPr>
              <a:solidFill>
                <a:srgbClr val="AEABAB"/>
              </a:solidFill>
            </c:spPr>
            <c:extLst>
              <c:ext xmlns:c16="http://schemas.microsoft.com/office/drawing/2014/chart" uri="{C3380CC4-5D6E-409C-BE32-E72D297353CC}">
                <c16:uniqueId val="{0000009B-999B-42C0-A7D9-A2057CE05A51}"/>
              </c:ext>
            </c:extLst>
          </c:dPt>
          <c:dPt>
            <c:idx val="78"/>
            <c:invertIfNegative val="1"/>
            <c:bubble3D val="0"/>
            <c:spPr>
              <a:solidFill>
                <a:srgbClr val="AEABAB"/>
              </a:solidFill>
            </c:spPr>
            <c:extLst>
              <c:ext xmlns:c16="http://schemas.microsoft.com/office/drawing/2014/chart" uri="{C3380CC4-5D6E-409C-BE32-E72D297353CC}">
                <c16:uniqueId val="{0000009D-999B-42C0-A7D9-A2057CE05A51}"/>
              </c:ext>
            </c:extLst>
          </c:dPt>
          <c:dPt>
            <c:idx val="79"/>
            <c:invertIfNegative val="1"/>
            <c:bubble3D val="0"/>
            <c:spPr>
              <a:solidFill>
                <a:srgbClr val="7ECAC4"/>
              </a:solidFill>
            </c:spPr>
            <c:extLst>
              <c:ext xmlns:c16="http://schemas.microsoft.com/office/drawing/2014/chart" uri="{C3380CC4-5D6E-409C-BE32-E72D297353CC}">
                <c16:uniqueId val="{0000009F-999B-42C0-A7D9-A2057CE05A51}"/>
              </c:ext>
            </c:extLst>
          </c:dPt>
          <c:dPt>
            <c:idx val="80"/>
            <c:invertIfNegative val="1"/>
            <c:bubble3D val="0"/>
            <c:spPr>
              <a:solidFill>
                <a:srgbClr val="AEABAB"/>
              </a:solidFill>
            </c:spPr>
            <c:extLst>
              <c:ext xmlns:c16="http://schemas.microsoft.com/office/drawing/2014/chart" uri="{C3380CC4-5D6E-409C-BE32-E72D297353CC}">
                <c16:uniqueId val="{000000A1-999B-42C0-A7D9-A2057CE05A51}"/>
              </c:ext>
            </c:extLst>
          </c:dPt>
          <c:dPt>
            <c:idx val="81"/>
            <c:invertIfNegative val="1"/>
            <c:bubble3D val="0"/>
            <c:spPr>
              <a:solidFill>
                <a:srgbClr val="AEABAB"/>
              </a:solidFill>
            </c:spPr>
            <c:extLst>
              <c:ext xmlns:c16="http://schemas.microsoft.com/office/drawing/2014/chart" uri="{C3380CC4-5D6E-409C-BE32-E72D297353CC}">
                <c16:uniqueId val="{000000A3-999B-42C0-A7D9-A2057CE05A51}"/>
              </c:ext>
            </c:extLst>
          </c:dPt>
          <c:dPt>
            <c:idx val="82"/>
            <c:invertIfNegative val="1"/>
            <c:bubble3D val="0"/>
            <c:spPr>
              <a:solidFill>
                <a:srgbClr val="AEABAB"/>
              </a:solidFill>
            </c:spPr>
            <c:extLst>
              <c:ext xmlns:c16="http://schemas.microsoft.com/office/drawing/2014/chart" uri="{C3380CC4-5D6E-409C-BE32-E72D297353CC}">
                <c16:uniqueId val="{000000A5-999B-42C0-A7D9-A2057CE05A51}"/>
              </c:ext>
            </c:extLst>
          </c:dPt>
          <c:dPt>
            <c:idx val="83"/>
            <c:invertIfNegative val="1"/>
            <c:bubble3D val="0"/>
            <c:spPr>
              <a:solidFill>
                <a:srgbClr val="AEABAB"/>
              </a:solidFill>
            </c:spPr>
            <c:extLst>
              <c:ext xmlns:c16="http://schemas.microsoft.com/office/drawing/2014/chart" uri="{C3380CC4-5D6E-409C-BE32-E72D297353CC}">
                <c16:uniqueId val="{000000A7-999B-42C0-A7D9-A2057CE05A51}"/>
              </c:ext>
            </c:extLst>
          </c:dPt>
          <c:dPt>
            <c:idx val="84"/>
            <c:invertIfNegative val="1"/>
            <c:bubble3D val="0"/>
            <c:spPr>
              <a:solidFill>
                <a:srgbClr val="AEABAB"/>
              </a:solidFill>
            </c:spPr>
            <c:extLst>
              <c:ext xmlns:c16="http://schemas.microsoft.com/office/drawing/2014/chart" uri="{C3380CC4-5D6E-409C-BE32-E72D297353CC}">
                <c16:uniqueId val="{000000A9-999B-42C0-A7D9-A2057CE05A51}"/>
              </c:ext>
            </c:extLst>
          </c:dPt>
          <c:dPt>
            <c:idx val="85"/>
            <c:invertIfNegative val="1"/>
            <c:bubble3D val="0"/>
            <c:spPr>
              <a:solidFill>
                <a:srgbClr val="AEABAB"/>
              </a:solidFill>
            </c:spPr>
            <c:extLst>
              <c:ext xmlns:c16="http://schemas.microsoft.com/office/drawing/2014/chart" uri="{C3380CC4-5D6E-409C-BE32-E72D297353CC}">
                <c16:uniqueId val="{000000AB-999B-42C0-A7D9-A2057CE05A51}"/>
              </c:ext>
            </c:extLst>
          </c:dPt>
          <c:dPt>
            <c:idx val="86"/>
            <c:invertIfNegative val="1"/>
            <c:bubble3D val="0"/>
            <c:spPr>
              <a:solidFill>
                <a:srgbClr val="AEABAB"/>
              </a:solidFill>
            </c:spPr>
            <c:extLst>
              <c:ext xmlns:c16="http://schemas.microsoft.com/office/drawing/2014/chart" uri="{C3380CC4-5D6E-409C-BE32-E72D297353CC}">
                <c16:uniqueId val="{000000AD-999B-42C0-A7D9-A2057CE05A51}"/>
              </c:ext>
            </c:extLst>
          </c:dPt>
          <c:dPt>
            <c:idx val="87"/>
            <c:invertIfNegative val="1"/>
            <c:bubble3D val="0"/>
            <c:spPr>
              <a:solidFill>
                <a:srgbClr val="AEABAB"/>
              </a:solidFill>
            </c:spPr>
            <c:extLst>
              <c:ext xmlns:c16="http://schemas.microsoft.com/office/drawing/2014/chart" uri="{C3380CC4-5D6E-409C-BE32-E72D297353CC}">
                <c16:uniqueId val="{000000AF-999B-42C0-A7D9-A2057CE05A51}"/>
              </c:ext>
            </c:extLst>
          </c:dPt>
          <c:dPt>
            <c:idx val="88"/>
            <c:invertIfNegative val="1"/>
            <c:bubble3D val="0"/>
            <c:spPr>
              <a:solidFill>
                <a:srgbClr val="AEABAB"/>
              </a:solidFill>
            </c:spPr>
            <c:extLst>
              <c:ext xmlns:c16="http://schemas.microsoft.com/office/drawing/2014/chart" uri="{C3380CC4-5D6E-409C-BE32-E72D297353CC}">
                <c16:uniqueId val="{000000B1-999B-42C0-A7D9-A2057CE05A51}"/>
              </c:ext>
            </c:extLst>
          </c:dPt>
          <c:dPt>
            <c:idx val="89"/>
            <c:invertIfNegative val="1"/>
            <c:bubble3D val="0"/>
            <c:spPr>
              <a:solidFill>
                <a:srgbClr val="AEABAB"/>
              </a:solidFill>
            </c:spPr>
            <c:extLst>
              <c:ext xmlns:c16="http://schemas.microsoft.com/office/drawing/2014/chart" uri="{C3380CC4-5D6E-409C-BE32-E72D297353CC}">
                <c16:uniqueId val="{000000B3-999B-42C0-A7D9-A2057CE05A51}"/>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99B-42C0-A7D9-A2057CE05A51}"/>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99B-42C0-A7D9-A2057CE05A51}"/>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99B-42C0-A7D9-A2057CE05A51}"/>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99B-42C0-A7D9-A2057CE05A51}"/>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99B-42C0-A7D9-A2057CE05A51}"/>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99B-42C0-A7D9-A2057CE05A51}"/>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99B-42C0-A7D9-A2057CE05A51}"/>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999B-42C0-A7D9-A2057CE05A51}"/>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999B-42C0-A7D9-A2057CE05A51}"/>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999B-42C0-A7D9-A2057CE05A51}"/>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999B-42C0-A7D9-A2057CE05A51}"/>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999B-42C0-A7D9-A2057CE05A51}"/>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999B-42C0-A7D9-A2057CE05A51}"/>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999B-42C0-A7D9-A2057CE05A51}"/>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999B-42C0-A7D9-A2057CE05A51}"/>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999B-42C0-A7D9-A2057CE05A51}"/>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999B-42C0-A7D9-A2057CE05A51}"/>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999B-42C0-A7D9-A2057CE05A51}"/>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999B-42C0-A7D9-A2057CE05A51}"/>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999B-42C0-A7D9-A2057CE05A51}"/>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999B-42C0-A7D9-A2057CE05A51}"/>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999B-42C0-A7D9-A2057CE05A51}"/>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999B-42C0-A7D9-A2057CE05A51}"/>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999B-42C0-A7D9-A2057CE05A51}"/>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999B-42C0-A7D9-A2057CE05A51}"/>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999B-42C0-A7D9-A2057CE05A51}"/>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999B-42C0-A7D9-A2057CE05A51}"/>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999B-42C0-A7D9-A2057CE05A51}"/>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999B-42C0-A7D9-A2057CE05A51}"/>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999B-42C0-A7D9-A2057CE05A51}"/>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D-999B-42C0-A7D9-A2057CE05A51}"/>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F-999B-42C0-A7D9-A2057CE05A51}"/>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1-999B-42C0-A7D9-A2057CE05A51}"/>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3-999B-42C0-A7D9-A2057CE05A51}"/>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5-999B-42C0-A7D9-A2057CE05A51}"/>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7-999B-42C0-A7D9-A2057CE05A51}"/>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9-999B-42C0-A7D9-A2057CE05A51}"/>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B-999B-42C0-A7D9-A2057CE05A51}"/>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D-999B-42C0-A7D9-A2057CE05A51}"/>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4F-999B-42C0-A7D9-A2057CE05A51}"/>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1-999B-42C0-A7D9-A2057CE05A51}"/>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3-999B-42C0-A7D9-A2057CE05A51}"/>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5-999B-42C0-A7D9-A2057CE05A51}"/>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7-999B-42C0-A7D9-A2057CE05A51}"/>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9-999B-42C0-A7D9-A2057CE05A51}"/>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B-999B-42C0-A7D9-A2057CE05A51}"/>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D-999B-42C0-A7D9-A2057CE05A51}"/>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5F-999B-42C0-A7D9-A2057CE05A51}"/>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1-999B-42C0-A7D9-A2057CE05A51}"/>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3-999B-42C0-A7D9-A2057CE05A51}"/>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5-999B-42C0-A7D9-A2057CE05A51}"/>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7-999B-42C0-A7D9-A2057CE05A51}"/>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9-999B-42C0-A7D9-A2057CE05A51}"/>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999B-42C0-A7D9-A2057CE05A51}"/>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999B-42C0-A7D9-A2057CE05A51}"/>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999B-42C0-A7D9-A2057CE05A51}"/>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999B-42C0-A7D9-A2057CE05A51}"/>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999B-42C0-A7D9-A2057CE05A51}"/>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999B-42C0-A7D9-A2057CE05A51}"/>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999B-42C0-A7D9-A2057CE05A51}"/>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999B-42C0-A7D9-A2057CE05A51}"/>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999B-42C0-A7D9-A2057CE05A51}"/>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999B-42C0-A7D9-A2057CE05A51}"/>
                </c:ext>
              </c:extLst>
            </c:dLbl>
            <c:dLbl>
              <c:idx val="63"/>
              <c:tx>
                <c:rich>
                  <a:bodyPr/>
                  <a:lstStyle/>
                  <a:p>
                    <a:r>
                      <a:rPr sz="500">
                        <a:solidFill>
                          <a:srgbClr val="006C6D"/>
                        </a:solidFill>
                      </a:rPr>
                      <a:t>Beautycare Glow Lip Oil FPS50+ 10g</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999B-42C0-A7D9-A2057CE05A51}"/>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999B-42C0-A7D9-A2057CE05A51}"/>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999B-42C0-A7D9-A2057CE05A51}"/>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999B-42C0-A7D9-A2057CE05A51}"/>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999B-42C0-A7D9-A2057CE05A51}"/>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999B-42C0-A7D9-A2057CE05A51}"/>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999B-42C0-A7D9-A2057CE05A51}"/>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999B-42C0-A7D9-A2057CE05A51}"/>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999B-42C0-A7D9-A2057CE05A51}"/>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999B-42C0-A7D9-A2057CE05A51}"/>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999B-42C0-A7D9-A2057CE05A51}"/>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999B-42C0-A7D9-A2057CE05A51}"/>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999B-42C0-A7D9-A2057CE05A51}"/>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999B-42C0-A7D9-A2057CE05A51}"/>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999B-42C0-A7D9-A2057CE05A51}"/>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999B-42C0-A7D9-A2057CE05A51}"/>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999B-42C0-A7D9-A2057CE05A51}"/>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999B-42C0-A7D9-A2057CE05A51}"/>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999B-42C0-A7D9-A2057CE05A51}"/>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999B-42C0-A7D9-A2057CE05A51}"/>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999B-42C0-A7D9-A2057CE05A51}"/>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999B-42C0-A7D9-A2057CE05A51}"/>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999B-42C0-A7D9-A2057CE05A51}"/>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999B-42C0-A7D9-A2057CE05A51}"/>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999B-42C0-A7D9-A2057CE05A51}"/>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999B-42C0-A7D9-A2057CE05A51}"/>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Banana Boat Kids Sport Spray FPS50 170g</c:v>
                </c:pt>
                <c:pt idx="58">
                  <c:v>Nuvel Suncare 2 in 1 FPS50 120ml</c:v>
                </c:pt>
                <c:pt idx="59">
                  <c:v>Caribbean Beach Cuidado Face Cream FPS50+ 85ml</c:v>
                </c:pt>
                <c:pt idx="60">
                  <c:v>Caribbean Beach Kids Cream FPS50+ 150g</c:v>
                </c:pt>
                <c:pt idx="61">
                  <c:v>Banana Boat Mineral Sensitive Lotion FPS50 180ml</c:v>
                </c:pt>
                <c:pt idx="62">
                  <c:v>Hawaiian Tropic Argan Spray FPS15 220ml</c:v>
                </c:pt>
                <c:pt idx="63">
                  <c:v>Beautycare Glow Lip Oil FPS50+ 10g</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6536333078288</c:v>
                </c:pt>
                <c:pt idx="1">
                  <c:v>0.0576633520325946</c:v>
                </c:pt>
                <c:pt idx="2">
                  <c:v>0.05100430735339255</c:v>
                </c:pt>
                <c:pt idx="3">
                  <c:v>0.045244427178931665</c:v>
                </c:pt>
                <c:pt idx="4">
                  <c:v>0.04350188572193713</c:v>
                </c:pt>
                <c:pt idx="5">
                  <c:v>0.043476876429684994</c:v>
                </c:pt>
                <c:pt idx="6">
                  <c:v>0.03558698648486996</c:v>
                </c:pt>
                <c:pt idx="7">
                  <c:v>0.03114562205583298</c:v>
                </c:pt>
                <c:pt idx="8">
                  <c:v>0.02794508248815143</c:v>
                </c:pt>
                <c:pt idx="9">
                  <c:v>0.027192715317405393</c:v>
                </c:pt>
                <c:pt idx="10">
                  <c:v>0.022663886467339446</c:v>
                </c:pt>
                <c:pt idx="11">
                  <c:v>0.022604789329574135</c:v>
                </c:pt>
                <c:pt idx="12">
                  <c:v>0.020304248410633108</c:v>
                </c:pt>
                <c:pt idx="13">
                  <c:v>0.019410380477848672</c:v>
                </c:pt>
                <c:pt idx="14">
                  <c:v>0.017286745111879054</c:v>
                </c:pt>
                <c:pt idx="15">
                  <c:v>0.01724676120630665</c:v>
                </c:pt>
                <c:pt idx="16">
                  <c:v>0.017106427601497297</c:v>
                </c:pt>
                <c:pt idx="17">
                  <c:v>0.015264032808869055</c:v>
                </c:pt>
                <c:pt idx="18">
                  <c:v>0.014793966406515978</c:v>
                </c:pt>
                <c:pt idx="19">
                  <c:v>0.014620560027625927</c:v>
                </c:pt>
                <c:pt idx="20">
                  <c:v>0.014058945045949199</c:v>
                </c:pt>
                <c:pt idx="21">
                  <c:v>0.013479982977963672</c:v>
                </c:pt>
                <c:pt idx="22">
                  <c:v>0.012432714629695902</c:v>
                </c:pt>
                <c:pt idx="23">
                  <c:v>0.012194142376778712</c:v>
                </c:pt>
                <c:pt idx="24">
                  <c:v>0.011996797459990095</c:v>
                </c:pt>
                <c:pt idx="25">
                  <c:v>0.011980051767330586</c:v>
                </c:pt>
                <c:pt idx="26">
                  <c:v>0.01174717905662644</c:v>
                </c:pt>
                <c:pt idx="27">
                  <c:v>0.010815544310509989</c:v>
                </c:pt>
                <c:pt idx="28">
                  <c:v>0.01051811493360152</c:v>
                </c:pt>
                <c:pt idx="29">
                  <c:v>0.010338663898469823</c:v>
                </c:pt>
                <c:pt idx="30">
                  <c:v>0.009875453550671416</c:v>
                </c:pt>
                <c:pt idx="31">
                  <c:v>0.009861385149711598</c:v>
                </c:pt>
                <c:pt idx="32">
                  <c:v>0.009710784628063903</c:v>
                </c:pt>
                <c:pt idx="33">
                  <c:v>0.009598437511337512</c:v>
                </c:pt>
                <c:pt idx="34">
                  <c:v>0.009263500999764546</c:v>
                </c:pt>
                <c:pt idx="35">
                  <c:v>0.009242170918569508</c:v>
                </c:pt>
                <c:pt idx="36">
                  <c:v>0.009241758438943027</c:v>
                </c:pt>
                <c:pt idx="37">
                  <c:v>0.00923312308249614</c:v>
                </c:pt>
                <c:pt idx="38">
                  <c:v>0.007537237665284824</c:v>
                </c:pt>
                <c:pt idx="39">
                  <c:v>0.007200846202780664</c:v>
                </c:pt>
                <c:pt idx="40">
                  <c:v>0.0070067565630807125</c:v>
                </c:pt>
                <c:pt idx="41">
                  <c:v>0.0069281788120882405</c:v>
                </c:pt>
                <c:pt idx="42">
                  <c:v>0.006838003919724552</c:v>
                </c:pt>
                <c:pt idx="43">
                  <c:v>0.006638524230443103</c:v>
                </c:pt>
                <c:pt idx="44">
                  <c:v>0.006558619658195761</c:v>
                </c:pt>
                <c:pt idx="45">
                  <c:v>0.006501949710750741</c:v>
                </c:pt>
                <c:pt idx="46">
                  <c:v>0.006130203757508424</c:v>
                </c:pt>
                <c:pt idx="47">
                  <c:v>0.006043686590214965</c:v>
                </c:pt>
                <c:pt idx="48">
                  <c:v>0.005546865072915721</c:v>
                </c:pt>
                <c:pt idx="49">
                  <c:v>0.005266015010275561</c:v>
                </c:pt>
                <c:pt idx="50">
                  <c:v>0.005219857896051765</c:v>
                </c:pt>
                <c:pt idx="51">
                  <c:v>0.005027937062738709</c:v>
                </c:pt>
                <c:pt idx="52">
                  <c:v>0.004829945463387405</c:v>
                </c:pt>
                <c:pt idx="53">
                  <c:v>0.004804054431456914</c:v>
                </c:pt>
                <c:pt idx="54">
                  <c:v>0.00470637819539684</c:v>
                </c:pt>
                <c:pt idx="55">
                  <c:v>0.004581676025599335</c:v>
                </c:pt>
                <c:pt idx="56">
                  <c:v>0.004528057024746157</c:v>
                </c:pt>
                <c:pt idx="57">
                  <c:v>0.0041590085170050625</c:v>
                </c:pt>
                <c:pt idx="58">
                  <c:v>0.00409816052282962</c:v>
                </c:pt>
                <c:pt idx="59">
                  <c:v>0.00393858436652436</c:v>
                </c:pt>
                <c:pt idx="60">
                  <c:v>0.003780217123788065</c:v>
                </c:pt>
                <c:pt idx="61">
                  <c:v>0.003643901226080401</c:v>
                </c:pt>
                <c:pt idx="62">
                  <c:v>0.003445650433925354</c:v>
                </c:pt>
                <c:pt idx="63">
                  <c:v>0.0030843979620152847</c:v>
                </c:pt>
                <c:pt idx="64">
                  <c:v>0.0030818098712687048</c:v>
                </c:pt>
                <c:pt idx="65">
                  <c:v>0.0030506102977676435</c:v>
                </c:pt>
                <c:pt idx="66">
                  <c:v>0.0027786697426925807</c:v>
                </c:pt>
                <c:pt idx="67">
                  <c:v>0.002682482812655368</c:v>
                </c:pt>
                <c:pt idx="68">
                  <c:v>0.0018634259624505827</c:v>
                </c:pt>
                <c:pt idx="69">
                  <c:v>0.0016473505071384095</c:v>
                </c:pt>
                <c:pt idx="70">
                  <c:v>0.0016337335887432545</c:v>
                </c:pt>
                <c:pt idx="71">
                  <c:v>0.0014964265329615782</c:v>
                </c:pt>
                <c:pt idx="72">
                  <c:v>0.0014845445129406797</c:v>
                </c:pt>
                <c:pt idx="73">
                  <c:v>0.0012877617639683375</c:v>
                </c:pt>
                <c:pt idx="74">
                  <c:v>0.0012281968971605529</c:v>
                </c:pt>
                <c:pt idx="75">
                  <c:v>0.0011518228308905983</c:v>
                </c:pt>
                <c:pt idx="76">
                  <c:v>0.0011221703086607298</c:v>
                </c:pt>
                <c:pt idx="77">
                  <c:v>0.0010797803405679905</c:v>
                </c:pt>
                <c:pt idx="78">
                  <c:v>0.0009172263664362887</c:v>
                </c:pt>
                <c:pt idx="79">
                  <c:v>0.0007147834168674221</c:v>
                </c:pt>
                <c:pt idx="80">
                  <c:v>0.0006173238238748335</c:v>
                </c:pt>
              </c:numCache>
            </c:numRef>
          </c:val>
          <c:extLst>
            <c:ext xmlns:c16="http://schemas.microsoft.com/office/drawing/2014/chart" uri="{C3380CC4-5D6E-409C-BE32-E72D297353CC}">
              <c16:uniqueId val="{000000B4-999B-42C0-A7D9-A2057CE05A51}"/>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Banana Boat Kids Sport Spray FPS50+ 240ml</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AEABAB"/>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7ECAC4"/>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7ECAC4"/>
              </a:solidFill>
            </c:spPr>
            <c:extLst>
              <c:ext xmlns:c16="http://schemas.microsoft.com/office/drawing/2014/chart" uri="{C3380CC4-5D6E-409C-BE32-E72D297353CC}">
                <c16:uniqueId val="{00000028-A0D8-4FF8-BF2D-A6DC7B178F5A}"/>
              </c:ext>
            </c:extLst>
          </c:dPt>
          <c:dPt>
            <c:idx val="36"/>
            <c:invertIfNegative val="1"/>
            <c:bubble3D val="0"/>
            <c:spPr>
              <a:solidFill>
                <a:srgbClr val="AEABAB"/>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006C6D"/>
              </a:solidFill>
            </c:spPr>
            <c:extLst>
              <c:ext xmlns:c16="http://schemas.microsoft.com/office/drawing/2014/chart" uri="{C3380CC4-5D6E-409C-BE32-E72D297353CC}">
                <c16:uniqueId val="{00000030-A0D8-4FF8-BF2D-A6DC7B178F5A}"/>
              </c:ext>
            </c:extLst>
          </c:dPt>
          <c:dPt>
            <c:idx val="45"/>
            <c:invertIfNegative val="1"/>
            <c:bubble3D val="0"/>
            <c:spPr>
              <a:solidFill>
                <a:srgbClr val="AEABAB"/>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7ECAC4"/>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AEABAB"/>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7ECAC4"/>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AEABAB"/>
              </a:solidFill>
            </c:spPr>
            <c:extLst>
              <c:ext xmlns:c16="http://schemas.microsoft.com/office/drawing/2014/chart" uri="{C3380CC4-5D6E-409C-BE32-E72D297353CC}">
                <c16:uniqueId val="{00000073-B572-4DF2-A18B-EB5D630E70B4}"/>
              </c:ext>
            </c:extLst>
          </c:dPt>
          <c:dPt>
            <c:idx val="58"/>
            <c:invertIfNegative val="1"/>
            <c:bubble3D val="0"/>
            <c:spPr>
              <a:solidFill>
                <a:srgbClr val="AEABAB"/>
              </a:solidFill>
            </c:spPr>
            <c:extLst>
              <c:ext xmlns:c16="http://schemas.microsoft.com/office/drawing/2014/chart" uri="{C3380CC4-5D6E-409C-BE32-E72D297353CC}">
                <c16:uniqueId val="{00000075-B572-4DF2-A18B-EB5D630E70B4}"/>
              </c:ext>
            </c:extLst>
          </c:dPt>
          <c:dPt>
            <c:idx val="59"/>
            <c:invertIfNegative val="1"/>
            <c:bubble3D val="0"/>
            <c:spPr>
              <a:solidFill>
                <a:srgbClr val="7ECAC4"/>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r>
                      <a:rPr sz="500">
                        <a:solidFill>
                          <a:srgbClr val="006C6D"/>
                        </a:solidFill>
                      </a:rPr>
                      <a:t>Banana Boat Kids Sport Spray FPS50+ 24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Caribbean Beach Ultra Cream FPS50+ 250g</c:v>
                </c:pt>
                <c:pt idx="24">
                  <c:v>La Roche Posay Anthelios Uvmune 400 Fluid FPS50+ 50ml</c:v>
                </c:pt>
                <c:pt idx="25">
                  <c:v>Banana Boat Dry Balance Sport Spray FPS50 170ml</c:v>
                </c:pt>
                <c:pt idx="26">
                  <c:v>Nivea Sun Face Sensitive Skin FPS50 50ml</c:v>
                </c:pt>
                <c:pt idx="27">
                  <c:v>Eucerin Gel-Cream FPS50+ 50ml</c:v>
                </c:pt>
                <c:pt idx="28">
                  <c:v>Neutrogena Sun Fresh Cream FPS50 120ml</c:v>
                </c:pt>
                <c:pt idx="29">
                  <c:v>Caribbean Beach Advanced Protection Cream FPS50+ 150g</c:v>
                </c:pt>
                <c:pt idx="30">
                  <c:v>Nivea Sun Face Stain Control FPS50+ 40ml</c:v>
                </c:pt>
                <c:pt idx="31">
                  <c:v>Nivea Sun Kids Protect &amp; Sensitive Spray FPS50+ 200ml</c:v>
                </c:pt>
                <c:pt idx="32">
                  <c:v>Caribbean Beach Sport Cream FPS50+ 150g</c:v>
                </c:pt>
                <c:pt idx="33">
                  <c:v>Hawaiian Tropic Silk Hydration Lotion FPS50 180ml</c:v>
                </c:pt>
                <c:pt idx="34">
                  <c:v>Garnier Super UV Serum FPS50+ 40ml</c:v>
                </c:pt>
                <c:pt idx="35">
                  <c:v>Hawaiian Tropic Ozono Lotion FPS50+ 120ml</c:v>
                </c:pt>
                <c:pt idx="36">
                  <c:v>Caribbean Beach Kids Cream FPS50+ 250g</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Banana Boat Kids Sport Spray FPS50+ 24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Dry Balance Sport Lotion FPS50+ 180ml</c:v>
                </c:pt>
                <c:pt idx="54">
                  <c:v>Banana Boat Aqua Protect Sport Spray FPS50+ 170g</c:v>
                </c:pt>
                <c:pt idx="55">
                  <c:v>Nuvel Suncare Kids Protection FPS50 120ml</c:v>
                </c:pt>
                <c:pt idx="56">
                  <c:v>Isdin Fotoprotector Face and Body Gel-Cream FPS50+ 250ml</c:v>
                </c:pt>
                <c:pt idx="57">
                  <c:v>Caribbean Beach Vitamin E Face Cream FPS50+ 85ml</c:v>
                </c:pt>
                <c:pt idx="58">
                  <c:v>Nuvel Suncare 2 in 1 FPS50 120ml</c:v>
                </c:pt>
                <c:pt idx="59">
                  <c:v>Banana Boat Kids Sport Spray FPS50 170g</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eautycare Antioxidant Face Lotion FPS50+ 50ml</c:v>
                </c:pt>
                <c:pt idx="72">
                  <c:v>Banana Boat Advanced Protection Sport Roll-on FPS50+ 75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27974574895191</c:v>
                </c:pt>
                <c:pt idx="1">
                  <c:v>0.05733018604626963</c:v>
                </c:pt>
                <c:pt idx="2">
                  <c:v>0.050906822369047866</c:v>
                </c:pt>
                <c:pt idx="3">
                  <c:v>0.04521509898343962</c:v>
                </c:pt>
                <c:pt idx="4">
                  <c:v>0.04332029245054465</c:v>
                </c:pt>
                <c:pt idx="5">
                  <c:v>0.04329994026249928</c:v>
                </c:pt>
                <c:pt idx="6">
                  <c:v>0.035445420119642246</c:v>
                </c:pt>
                <c:pt idx="7">
                  <c:v>0.030788154377908127</c:v>
                </c:pt>
                <c:pt idx="8">
                  <c:v>0.027837592247600716</c:v>
                </c:pt>
                <c:pt idx="9">
                  <c:v>0.027038394116647643</c:v>
                </c:pt>
                <c:pt idx="10">
                  <c:v>0.02260435913473942</c:v>
                </c:pt>
                <c:pt idx="11">
                  <c:v>0.022502086870494972</c:v>
                </c:pt>
                <c:pt idx="12">
                  <c:v>0.020249018203589892</c:v>
                </c:pt>
                <c:pt idx="13">
                  <c:v>0.019244945763502174</c:v>
                </c:pt>
                <c:pt idx="14">
                  <c:v>0.017245093285664304</c:v>
                </c:pt>
                <c:pt idx="15">
                  <c:v>0.01720739446513277</c:v>
                </c:pt>
                <c:pt idx="16">
                  <c:v>0.01707359887673649</c:v>
                </c:pt>
                <c:pt idx="17">
                  <c:v>0.015275553594789644</c:v>
                </c:pt>
                <c:pt idx="18">
                  <c:v>0.014740981171594385</c:v>
                </c:pt>
                <c:pt idx="19">
                  <c:v>0.014624040545895518</c:v>
                </c:pt>
                <c:pt idx="20">
                  <c:v>0.014021768440744884</c:v>
                </c:pt>
                <c:pt idx="21">
                  <c:v>0.013440277690623356</c:v>
                </c:pt>
                <c:pt idx="22">
                  <c:v>0.01242065870286353</c:v>
                </c:pt>
                <c:pt idx="23">
                  <c:v>0.011985505050102763</c:v>
                </c:pt>
                <c:pt idx="24">
                  <c:v>0.01193474257357817</c:v>
                </c:pt>
                <c:pt idx="25">
                  <c:v>0.01185905477273956</c:v>
                </c:pt>
                <c:pt idx="26">
                  <c:v>0.011751697181935953</c:v>
                </c:pt>
                <c:pt idx="27">
                  <c:v>0.010830418230169872</c:v>
                </c:pt>
                <c:pt idx="28">
                  <c:v>0.010527232760568373</c:v>
                </c:pt>
                <c:pt idx="29">
                  <c:v>0.010330638677453645</c:v>
                </c:pt>
                <c:pt idx="30">
                  <c:v>0.009870103781758136</c:v>
                </c:pt>
                <c:pt idx="31">
                  <c:v>0.009850242778824294</c:v>
                </c:pt>
                <c:pt idx="32">
                  <c:v>0.009711614462216194</c:v>
                </c:pt>
                <c:pt idx="33">
                  <c:v>0.009584505666203946</c:v>
                </c:pt>
                <c:pt idx="34">
                  <c:v>0.00927401834377159</c:v>
                </c:pt>
                <c:pt idx="35">
                  <c:v>0.009242662587945375</c:v>
                </c:pt>
                <c:pt idx="36">
                  <c:v>0.009225225493621526</c:v>
                </c:pt>
                <c:pt idx="37">
                  <c:v>0.009210768564455346</c:v>
                </c:pt>
                <c:pt idx="38">
                  <c:v>0.0075354718150281615</c:v>
                </c:pt>
                <c:pt idx="39">
                  <c:v>0.007219013807077525</c:v>
                </c:pt>
                <c:pt idx="40">
                  <c:v>0.0070078156779096335</c:v>
                </c:pt>
                <c:pt idx="41">
                  <c:v>0.006938828661562101</c:v>
                </c:pt>
                <c:pt idx="42">
                  <c:v>0.006814536896528793</c:v>
                </c:pt>
                <c:pt idx="43">
                  <c:v>0.006635381666727589</c:v>
                </c:pt>
                <c:pt idx="44">
                  <c:v>0.006632316417059079</c:v>
                </c:pt>
                <c:pt idx="45">
                  <c:v>0.006550559658909278</c:v>
                </c:pt>
                <c:pt idx="46">
                  <c:v>0.006410465057867139</c:v>
                </c:pt>
                <c:pt idx="47">
                  <c:v>0.006060238807518326</c:v>
                </c:pt>
                <c:pt idx="48">
                  <c:v>0.006044664317110198</c:v>
                </c:pt>
                <c:pt idx="49">
                  <c:v>0.005540567097499987</c:v>
                </c:pt>
                <c:pt idx="50">
                  <c:v>0.005247867061716136</c:v>
                </c:pt>
                <c:pt idx="51">
                  <c:v>0.005172222829313738</c:v>
                </c:pt>
                <c:pt idx="52">
                  <c:v>0.0049986771867869435</c:v>
                </c:pt>
                <c:pt idx="53">
                  <c:v>0.004752484843004494</c:v>
                </c:pt>
                <c:pt idx="54">
                  <c:v>0.004718889551281649</c:v>
                </c:pt>
                <c:pt idx="55">
                  <c:v>0.004705122814526559</c:v>
                </c:pt>
                <c:pt idx="56">
                  <c:v>0.004578214695569639</c:v>
                </c:pt>
                <c:pt idx="57">
                  <c:v>0.0045353591652840105</c:v>
                </c:pt>
                <c:pt idx="58">
                  <c:v>0.004097415076913177</c:v>
                </c:pt>
                <c:pt idx="59">
                  <c:v>0.004078591355567343</c:v>
                </c:pt>
                <c:pt idx="60">
                  <c:v>0.003946334062418996</c:v>
                </c:pt>
                <c:pt idx="61">
                  <c:v>0.0037754865213418596</c:v>
                </c:pt>
                <c:pt idx="62">
                  <c:v>0.0036288706681206844</c:v>
                </c:pt>
                <c:pt idx="63">
                  <c:v>0.003430047369157787</c:v>
                </c:pt>
                <c:pt idx="64">
                  <c:v>0.0030561008277862956</c:v>
                </c:pt>
                <c:pt idx="65">
                  <c:v>0.0030011961146522224</c:v>
                </c:pt>
                <c:pt idx="66">
                  <c:v>0.00276868207541623</c:v>
                </c:pt>
                <c:pt idx="67">
                  <c:v>0.00267984917803678</c:v>
                </c:pt>
                <c:pt idx="68">
                  <c:v>0.0018576646074715904</c:v>
                </c:pt>
                <c:pt idx="69">
                  <c:v>0.0016475155711525755</c:v>
                </c:pt>
                <c:pt idx="70">
                  <c:v>0.0016134367926380812</c:v>
                </c:pt>
                <c:pt idx="71">
                  <c:v>0.0014815968775138565</c:v>
                </c:pt>
                <c:pt idx="72">
                  <c:v>0.0014765463999821431</c:v>
                </c:pt>
                <c:pt idx="73">
                  <c:v>0.0012825265251187516</c:v>
                </c:pt>
                <c:pt idx="74">
                  <c:v>0.0012242089283641315</c:v>
                </c:pt>
                <c:pt idx="75">
                  <c:v>0.0011451106870791381</c:v>
                </c:pt>
                <c:pt idx="76">
                  <c:v>0.0011125017629471565</c:v>
                </c:pt>
                <c:pt idx="77">
                  <c:v>0.0010789578770601588</c:v>
                </c:pt>
                <c:pt idx="78">
                  <c:v>0.0008971510062614281</c:v>
                </c:pt>
                <c:pt idx="79">
                  <c:v>0.0007133724502715842</c:v>
                </c:pt>
                <c:pt idx="80">
                  <c:v>0.0006082848421790987</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Lotion FPS50+ 300ml</c:v>
                </c:pt>
              </c:strCache>
            </c:strRef>
          </c:tx>
          <c:spPr>
            <a:solidFill>
              <a:srgbClr val="AEABAB"/>
            </a:solidFill>
            <a:ln>
              <a:noFill/>
            </a:ln>
            <a:effectLst/>
          </c:spPr>
          <c:invertIfNegative val="0"/>
          <c:dPt>
            <c:idx val="0"/>
            <c:invertIfNegative val="0"/>
            <c:bubble3D val="0"/>
            <c:extLst>
              <c:ext xmlns:c16="http://schemas.microsoft.com/office/drawing/2014/chart" uri="{C3380CC4-5D6E-409C-BE32-E72D297353CC}">
                <c16:uniqueId val="{0000000E-7980-4C82-8C1C-32D5A7B4E44B}"/>
              </c:ext>
            </c:extLst>
          </c:dPt>
          <c:dPt>
            <c:idx val="1"/>
            <c:invertIfNegative val="1"/>
            <c:bubble3D val="0"/>
            <c:spPr>
              <a:solidFill>
                <a:srgbClr val="AEABAB"/>
              </a:solidFill>
            </c:spPr>
            <c:extLst>
              <c:ext xmlns:c16="http://schemas.microsoft.com/office/drawing/2014/chart" uri="{C3380CC4-5D6E-409C-BE32-E72D297353CC}">
                <c16:uniqueId val="{0000000F-7980-4C82-8C1C-32D5A7B4E44B}"/>
              </c:ext>
            </c:extLst>
          </c:dPt>
          <c:dPt>
            <c:idx val="2"/>
            <c:invertIfNegative val="1"/>
            <c:bubble3D val="0"/>
            <c:spPr>
              <a:solidFill>
                <a:srgbClr val="AEABAB"/>
              </a:solidFill>
            </c:spPr>
            <c:extLst>
              <c:ext xmlns:c16="http://schemas.microsoft.com/office/drawing/2014/chart" uri="{C3380CC4-5D6E-409C-BE32-E72D297353CC}">
                <c16:uniqueId val="{00000010-7980-4C82-8C1C-32D5A7B4E44B}"/>
              </c:ext>
            </c:extLst>
          </c:dPt>
          <c:dPt>
            <c:idx val="3"/>
            <c:invertIfNegative val="0"/>
            <c:bubble3D val="0"/>
            <c:extLst>
              <c:ext xmlns:c16="http://schemas.microsoft.com/office/drawing/2014/chart" uri="{C3380CC4-5D6E-409C-BE32-E72D297353CC}">
                <c16:uniqueId val="{00000011-7980-4C82-8C1C-32D5A7B4E44B}"/>
              </c:ext>
            </c:extLst>
          </c:dPt>
          <c:dPt>
            <c:idx val="4"/>
            <c:invertIfNegative val="1"/>
            <c:bubble3D val="0"/>
            <c:spPr>
              <a:solidFill>
                <a:srgbClr val="7ECAC4"/>
              </a:solidFill>
            </c:spPr>
            <c:extLst>
              <c:ext xmlns:c16="http://schemas.microsoft.com/office/drawing/2014/chart" uri="{C3380CC4-5D6E-409C-BE32-E72D297353CC}">
                <c16:uniqueId val="{00000012-7980-4C82-8C1C-32D5A7B4E44B}"/>
              </c:ext>
            </c:extLst>
          </c:dPt>
          <c:dPt>
            <c:idx val="5"/>
            <c:invertIfNegative val="1"/>
            <c:bubble3D val="0"/>
            <c:spPr>
              <a:solidFill>
                <a:srgbClr val="7ECAC4"/>
              </a:solidFill>
            </c:spPr>
            <c:extLst>
              <c:ext xmlns:c16="http://schemas.microsoft.com/office/drawing/2014/chart" uri="{C3380CC4-5D6E-409C-BE32-E72D297353CC}">
                <c16:uniqueId val="{00000013-7980-4C82-8C1C-32D5A7B4E44B}"/>
              </c:ext>
            </c:extLst>
          </c:dPt>
          <c:dPt>
            <c:idx val="6"/>
            <c:invertIfNegative val="1"/>
            <c:bubble3D val="0"/>
            <c:spPr>
              <a:solidFill>
                <a:srgbClr val="7ECAC4"/>
              </a:solidFill>
            </c:spPr>
            <c:extLst>
              <c:ext xmlns:c16="http://schemas.microsoft.com/office/drawing/2014/chart" uri="{C3380CC4-5D6E-409C-BE32-E72D297353CC}">
                <c16:uniqueId val="{00000014-7980-4C82-8C1C-32D5A7B4E44B}"/>
              </c:ext>
            </c:extLst>
          </c:dPt>
          <c:dPt>
            <c:idx val="7"/>
            <c:invertIfNegative val="1"/>
            <c:bubble3D val="0"/>
            <c:spPr>
              <a:solidFill>
                <a:srgbClr val="7ECAC4"/>
              </a:solidFill>
            </c:spPr>
            <c:extLst>
              <c:ext xmlns:c16="http://schemas.microsoft.com/office/drawing/2014/chart" uri="{C3380CC4-5D6E-409C-BE32-E72D297353CC}">
                <c16:uniqueId val="{00000015-7980-4C82-8C1C-32D5A7B4E44B}"/>
              </c:ext>
            </c:extLst>
          </c:dPt>
          <c:dPt>
            <c:idx val="8"/>
            <c:invertIfNegative val="1"/>
            <c:bubble3D val="0"/>
            <c:spPr>
              <a:solidFill>
                <a:srgbClr val="7ECAC4"/>
              </a:solidFill>
            </c:spPr>
            <c:extLst>
              <c:ext xmlns:c16="http://schemas.microsoft.com/office/drawing/2014/chart" uri="{C3380CC4-5D6E-409C-BE32-E72D297353CC}">
                <c16:uniqueId val="{00000016-7980-4C82-8C1C-32D5A7B4E44B}"/>
              </c:ext>
            </c:extLst>
          </c:dPt>
          <c:dPt>
            <c:idx val="9"/>
            <c:invertIfNegative val="1"/>
            <c:bubble3D val="0"/>
            <c:spPr>
              <a:solidFill>
                <a:srgbClr val="7ECAC4"/>
              </a:solidFill>
            </c:spPr>
            <c:extLst>
              <c:ext xmlns:c16="http://schemas.microsoft.com/office/drawing/2014/chart" uri="{C3380CC4-5D6E-409C-BE32-E72D297353CC}">
                <c16:uniqueId val="{00000017-7980-4C82-8C1C-32D5A7B4E44B}"/>
              </c:ext>
            </c:extLst>
          </c:dPt>
          <c:dPt>
            <c:idx val="10"/>
            <c:invertIfNegative val="1"/>
            <c:bubble3D val="0"/>
            <c:spPr>
              <a:solidFill>
                <a:srgbClr val="AEABAB"/>
              </a:solidFill>
            </c:spPr>
            <c:extLst>
              <c:ext xmlns:c16="http://schemas.microsoft.com/office/drawing/2014/chart" uri="{C3380CC4-5D6E-409C-BE32-E72D297353CC}">
                <c16:uniqueId val="{00000018-7980-4C82-8C1C-32D5A7B4E44B}"/>
              </c:ext>
            </c:extLst>
          </c:dPt>
          <c:dPt>
            <c:idx val="11"/>
            <c:invertIfNegative val="1"/>
            <c:bubble3D val="0"/>
            <c:spPr>
              <a:solidFill>
                <a:srgbClr val="AEABAB"/>
              </a:solidFill>
            </c:spPr>
            <c:extLst>
              <c:ext xmlns:c16="http://schemas.microsoft.com/office/drawing/2014/chart" uri="{C3380CC4-5D6E-409C-BE32-E72D297353CC}">
                <c16:uniqueId val="{00000019-7980-4C82-8C1C-32D5A7B4E44B}"/>
              </c:ext>
            </c:extLst>
          </c:dPt>
          <c:dPt>
            <c:idx val="12"/>
            <c:invertIfNegative val="1"/>
            <c:bubble3D val="0"/>
            <c:spPr>
              <a:solidFill>
                <a:srgbClr val="AEABAB"/>
              </a:solidFill>
            </c:spPr>
            <c:extLst>
              <c:ext xmlns:c16="http://schemas.microsoft.com/office/drawing/2014/chart" uri="{C3380CC4-5D6E-409C-BE32-E72D297353CC}">
                <c16:uniqueId val="{0000001A-7980-4C82-8C1C-32D5A7B4E44B}"/>
              </c:ext>
            </c:extLst>
          </c:dPt>
          <c:dPt>
            <c:idx val="13"/>
            <c:invertIfNegative val="1"/>
            <c:bubble3D val="0"/>
            <c:spPr>
              <a:solidFill>
                <a:srgbClr val="7ECAC4"/>
              </a:solidFill>
            </c:spPr>
            <c:extLst>
              <c:ext xmlns:c16="http://schemas.microsoft.com/office/drawing/2014/chart" uri="{C3380CC4-5D6E-409C-BE32-E72D297353CC}">
                <c16:uniqueId val="{0000001B-7980-4C82-8C1C-32D5A7B4E44B}"/>
              </c:ext>
            </c:extLst>
          </c:dPt>
          <c:dPt>
            <c:idx val="14"/>
            <c:invertIfNegative val="0"/>
            <c:bubble3D val="0"/>
            <c:extLst>
              <c:ext xmlns:c16="http://schemas.microsoft.com/office/drawing/2014/chart" uri="{C3380CC4-5D6E-409C-BE32-E72D297353CC}">
                <c16:uniqueId val="{0000001C-7980-4C82-8C1C-32D5A7B4E44B}"/>
              </c:ext>
            </c:extLst>
          </c:dPt>
          <c:dPt>
            <c:idx val="15"/>
            <c:invertIfNegative val="1"/>
            <c:bubble3D val="0"/>
            <c:spPr>
              <a:solidFill>
                <a:srgbClr val="7ECAC4"/>
              </a:solidFill>
            </c:spPr>
            <c:extLst>
              <c:ext xmlns:c16="http://schemas.microsoft.com/office/drawing/2014/chart" uri="{C3380CC4-5D6E-409C-BE32-E72D297353CC}">
                <c16:uniqueId val="{0000001D-7980-4C82-8C1C-32D5A7B4E44B}"/>
              </c:ext>
            </c:extLst>
          </c:dPt>
          <c:dPt>
            <c:idx val="16"/>
            <c:invertIfNegative val="1"/>
            <c:bubble3D val="0"/>
            <c:spPr>
              <a:solidFill>
                <a:srgbClr val="AEABAB"/>
              </a:solidFill>
            </c:spPr>
            <c:extLst>
              <c:ext xmlns:c16="http://schemas.microsoft.com/office/drawing/2014/chart" uri="{C3380CC4-5D6E-409C-BE32-E72D297353CC}">
                <c16:uniqueId val="{0000001E-7980-4C82-8C1C-32D5A7B4E44B}"/>
              </c:ext>
            </c:extLst>
          </c:dPt>
          <c:dPt>
            <c:idx val="17"/>
            <c:invertIfNegative val="0"/>
            <c:bubble3D val="0"/>
            <c:extLst>
              <c:ext xmlns:c16="http://schemas.microsoft.com/office/drawing/2014/chart" uri="{C3380CC4-5D6E-409C-BE32-E72D297353CC}">
                <c16:uniqueId val="{0000001F-7980-4C82-8C1C-32D5A7B4E44B}"/>
              </c:ext>
            </c:extLst>
          </c:dPt>
          <c:dPt>
            <c:idx val="18"/>
            <c:invertIfNegative val="1"/>
            <c:bubble3D val="0"/>
            <c:spPr>
              <a:solidFill>
                <a:srgbClr val="AEABAB"/>
              </a:solidFill>
            </c:spPr>
            <c:extLst>
              <c:ext xmlns:c16="http://schemas.microsoft.com/office/drawing/2014/chart" uri="{C3380CC4-5D6E-409C-BE32-E72D297353CC}">
                <c16:uniqueId val="{00000020-7980-4C82-8C1C-32D5A7B4E44B}"/>
              </c:ext>
            </c:extLst>
          </c:dPt>
          <c:dPt>
            <c:idx val="19"/>
            <c:invertIfNegative val="1"/>
            <c:bubble3D val="0"/>
            <c:spPr>
              <a:solidFill>
                <a:srgbClr val="AEABAB"/>
              </a:solidFill>
            </c:spPr>
            <c:extLst>
              <c:ext xmlns:c16="http://schemas.microsoft.com/office/drawing/2014/chart" uri="{C3380CC4-5D6E-409C-BE32-E72D297353CC}">
                <c16:uniqueId val="{00000021-7980-4C82-8C1C-32D5A7B4E44B}"/>
              </c:ext>
            </c:extLst>
          </c:dPt>
          <c:dPt>
            <c:idx val="20"/>
            <c:invertIfNegative val="1"/>
            <c:bubble3D val="0"/>
            <c:spPr>
              <a:solidFill>
                <a:srgbClr val="7ECAC4"/>
              </a:solidFill>
            </c:spPr>
            <c:extLst>
              <c:ext xmlns:c16="http://schemas.microsoft.com/office/drawing/2014/chart" uri="{C3380CC4-5D6E-409C-BE32-E72D297353CC}">
                <c16:uniqueId val="{00000022-7980-4C82-8C1C-32D5A7B4E44B}"/>
              </c:ext>
            </c:extLst>
          </c:dPt>
          <c:dPt>
            <c:idx val="21"/>
            <c:invertIfNegative val="1"/>
            <c:bubble3D val="0"/>
            <c:spPr>
              <a:solidFill>
                <a:srgbClr val="AEABAB"/>
              </a:solidFill>
            </c:spPr>
            <c:extLst>
              <c:ext xmlns:c16="http://schemas.microsoft.com/office/drawing/2014/chart" uri="{C3380CC4-5D6E-409C-BE32-E72D297353CC}">
                <c16:uniqueId val="{00000001-7980-4C82-8C1C-32D5A7B4E44B}"/>
              </c:ext>
            </c:extLst>
          </c:dPt>
          <c:dPt>
            <c:idx val="22"/>
            <c:invertIfNegative val="1"/>
            <c:bubble3D val="0"/>
            <c:spPr>
              <a:solidFill>
                <a:srgbClr val="AEABAB"/>
              </a:solidFill>
            </c:spPr>
            <c:extLst>
              <c:ext xmlns:c16="http://schemas.microsoft.com/office/drawing/2014/chart" uri="{C3380CC4-5D6E-409C-BE32-E72D297353CC}">
                <c16:uniqueId val="{00000023-7980-4C82-8C1C-32D5A7B4E44B}"/>
              </c:ext>
            </c:extLst>
          </c:dPt>
          <c:dPt>
            <c:idx val="23"/>
            <c:invertIfNegative val="1"/>
            <c:bubble3D val="0"/>
            <c:spPr>
              <a:solidFill>
                <a:srgbClr val="7ECAC4"/>
              </a:solidFill>
            </c:spPr>
            <c:extLst>
              <c:ext xmlns:c16="http://schemas.microsoft.com/office/drawing/2014/chart" uri="{C3380CC4-5D6E-409C-BE32-E72D297353CC}">
                <c16:uniqueId val="{00000003-7980-4C82-8C1C-32D5A7B4E44B}"/>
              </c:ext>
            </c:extLst>
          </c:dPt>
          <c:dPt>
            <c:idx val="24"/>
            <c:invertIfNegative val="1"/>
            <c:bubble3D val="0"/>
            <c:spPr>
              <a:solidFill>
                <a:srgbClr val="AEABAB"/>
              </a:solidFill>
            </c:spPr>
            <c:extLst>
              <c:ext xmlns:c16="http://schemas.microsoft.com/office/drawing/2014/chart" uri="{C3380CC4-5D6E-409C-BE32-E72D297353CC}">
                <c16:uniqueId val="{00000024-7980-4C82-8C1C-32D5A7B4E44B}"/>
              </c:ext>
            </c:extLst>
          </c:dPt>
          <c:dPt>
            <c:idx val="25"/>
            <c:invertIfNegative val="1"/>
            <c:bubble3D val="0"/>
            <c:spPr>
              <a:solidFill>
                <a:srgbClr val="AEABAB"/>
              </a:solidFill>
            </c:spPr>
            <c:extLst>
              <c:ext xmlns:c16="http://schemas.microsoft.com/office/drawing/2014/chart" uri="{C3380CC4-5D6E-409C-BE32-E72D297353CC}">
                <c16:uniqueId val="{00000025-7980-4C82-8C1C-32D5A7B4E44B}"/>
              </c:ext>
            </c:extLst>
          </c:dPt>
          <c:dPt>
            <c:idx val="26"/>
            <c:invertIfNegative val="1"/>
            <c:bubble3D val="0"/>
            <c:spPr>
              <a:solidFill>
                <a:srgbClr val="AEABAB"/>
              </a:solidFill>
            </c:spPr>
            <c:extLst>
              <c:ext xmlns:c16="http://schemas.microsoft.com/office/drawing/2014/chart" uri="{C3380CC4-5D6E-409C-BE32-E72D297353CC}">
                <c16:uniqueId val="{00000026-7980-4C82-8C1C-32D5A7B4E44B}"/>
              </c:ext>
            </c:extLst>
          </c:dPt>
          <c:dPt>
            <c:idx val="27"/>
            <c:invertIfNegative val="1"/>
            <c:bubble3D val="0"/>
            <c:spPr>
              <a:solidFill>
                <a:srgbClr val="AEABAB"/>
              </a:solidFill>
            </c:spPr>
            <c:extLst>
              <c:ext xmlns:c16="http://schemas.microsoft.com/office/drawing/2014/chart" uri="{C3380CC4-5D6E-409C-BE32-E72D297353CC}">
                <c16:uniqueId val="{00000027-7980-4C82-8C1C-32D5A7B4E44B}"/>
              </c:ext>
            </c:extLst>
          </c:dPt>
          <c:dPt>
            <c:idx val="28"/>
            <c:invertIfNegative val="1"/>
            <c:bubble3D val="0"/>
            <c:spPr>
              <a:solidFill>
                <a:srgbClr val="006C6D"/>
              </a:solidFill>
            </c:spPr>
            <c:extLst>
              <c:ext xmlns:c16="http://schemas.microsoft.com/office/drawing/2014/chart" uri="{C3380CC4-5D6E-409C-BE32-E72D297353CC}">
                <c16:uniqueId val="{00000028-7980-4C82-8C1C-32D5A7B4E44B}"/>
              </c:ext>
            </c:extLst>
          </c:dPt>
          <c:dPt>
            <c:idx val="29"/>
            <c:invertIfNegative val="1"/>
            <c:bubble3D val="0"/>
            <c:spPr>
              <a:solidFill>
                <a:srgbClr val="AEABAB"/>
              </a:solidFill>
            </c:spPr>
            <c:extLst>
              <c:ext xmlns:c16="http://schemas.microsoft.com/office/drawing/2014/chart" uri="{C3380CC4-5D6E-409C-BE32-E72D297353CC}">
                <c16:uniqueId val="{00000029-7980-4C82-8C1C-32D5A7B4E44B}"/>
              </c:ext>
            </c:extLst>
          </c:dPt>
          <c:dPt>
            <c:idx val="30"/>
            <c:invertIfNegative val="1"/>
            <c:bubble3D val="0"/>
            <c:spPr>
              <a:solidFill>
                <a:srgbClr val="AEABAB"/>
              </a:solidFill>
            </c:spPr>
            <c:extLst>
              <c:ext xmlns:c16="http://schemas.microsoft.com/office/drawing/2014/chart" uri="{C3380CC4-5D6E-409C-BE32-E72D297353CC}">
                <c16:uniqueId val="{0000002A-7980-4C82-8C1C-32D5A7B4E44B}"/>
              </c:ext>
            </c:extLst>
          </c:dPt>
          <c:dPt>
            <c:idx val="31"/>
            <c:invertIfNegative val="1"/>
            <c:bubble3D val="0"/>
            <c:spPr>
              <a:solidFill>
                <a:srgbClr val="AEABAB"/>
              </a:solidFill>
            </c:spPr>
            <c:extLst>
              <c:ext xmlns:c16="http://schemas.microsoft.com/office/drawing/2014/chart" uri="{C3380CC4-5D6E-409C-BE32-E72D297353CC}">
                <c16:uniqueId val="{0000002B-7980-4C82-8C1C-32D5A7B4E44B}"/>
              </c:ext>
            </c:extLst>
          </c:dPt>
          <c:dPt>
            <c:idx val="32"/>
            <c:invertIfNegative val="0"/>
            <c:bubble3D val="0"/>
            <c:extLst>
              <c:ext xmlns:c16="http://schemas.microsoft.com/office/drawing/2014/chart" uri="{C3380CC4-5D6E-409C-BE32-E72D297353CC}">
                <c16:uniqueId val="{00000005-7980-4C82-8C1C-32D5A7B4E44B}"/>
              </c:ext>
            </c:extLst>
          </c:dPt>
          <c:dPt>
            <c:idx val="33"/>
            <c:invertIfNegative val="1"/>
            <c:bubble3D val="0"/>
            <c:spPr>
              <a:solidFill>
                <a:srgbClr val="AEABAB"/>
              </a:solidFill>
            </c:spPr>
            <c:extLst>
              <c:ext xmlns:c16="http://schemas.microsoft.com/office/drawing/2014/chart" uri="{C3380CC4-5D6E-409C-BE32-E72D297353CC}">
                <c16:uniqueId val="{0000002C-7980-4C82-8C1C-32D5A7B4E44B}"/>
              </c:ext>
            </c:extLst>
          </c:dPt>
          <c:dPt>
            <c:idx val="34"/>
            <c:invertIfNegative val="1"/>
            <c:bubble3D val="0"/>
            <c:spPr>
              <a:solidFill>
                <a:srgbClr val="7ECAC4"/>
              </a:solidFill>
            </c:spPr>
            <c:extLst>
              <c:ext xmlns:c16="http://schemas.microsoft.com/office/drawing/2014/chart" uri="{C3380CC4-5D6E-409C-BE32-E72D297353CC}">
                <c16:uniqueId val="{00000007-7980-4C82-8C1C-32D5A7B4E44B}"/>
              </c:ext>
            </c:extLst>
          </c:dPt>
          <c:dPt>
            <c:idx val="35"/>
            <c:invertIfNegative val="1"/>
            <c:bubble3D val="0"/>
            <c:spPr>
              <a:solidFill>
                <a:srgbClr val="AEABAB"/>
              </a:solidFill>
            </c:spPr>
            <c:extLst>
              <c:ext xmlns:c16="http://schemas.microsoft.com/office/drawing/2014/chart" uri="{C3380CC4-5D6E-409C-BE32-E72D297353CC}">
                <c16:uniqueId val="{0000002D-7980-4C82-8C1C-32D5A7B4E44B}"/>
              </c:ext>
            </c:extLst>
          </c:dPt>
          <c:dPt>
            <c:idx val="36"/>
            <c:invertIfNegative val="1"/>
            <c:bubble3D val="0"/>
            <c:spPr>
              <a:solidFill>
                <a:srgbClr val="AEABAB"/>
              </a:solidFill>
            </c:spPr>
            <c:extLst>
              <c:ext xmlns:c16="http://schemas.microsoft.com/office/drawing/2014/chart" uri="{C3380CC4-5D6E-409C-BE32-E72D297353CC}">
                <c16:uniqueId val="{0000002E-7980-4C82-8C1C-32D5A7B4E44B}"/>
              </c:ext>
            </c:extLst>
          </c:dPt>
          <c:dPt>
            <c:idx val="37"/>
            <c:invertIfNegative val="1"/>
            <c:bubble3D val="0"/>
            <c:spPr>
              <a:solidFill>
                <a:srgbClr val="AEABAB"/>
              </a:solidFill>
            </c:spPr>
            <c:extLst>
              <c:ext xmlns:c16="http://schemas.microsoft.com/office/drawing/2014/chart" uri="{C3380CC4-5D6E-409C-BE32-E72D297353CC}">
                <c16:uniqueId val="{0000002F-7980-4C82-8C1C-32D5A7B4E44B}"/>
              </c:ext>
            </c:extLst>
          </c:dPt>
          <c:dPt>
            <c:idx val="38"/>
            <c:invertIfNegative val="1"/>
            <c:bubble3D val="0"/>
            <c:spPr>
              <a:solidFill>
                <a:srgbClr val="7ECAC4"/>
              </a:solidFill>
            </c:spPr>
            <c:extLst>
              <c:ext xmlns:c16="http://schemas.microsoft.com/office/drawing/2014/chart" uri="{C3380CC4-5D6E-409C-BE32-E72D297353CC}">
                <c16:uniqueId val="{00000030-7980-4C82-8C1C-32D5A7B4E44B}"/>
              </c:ext>
            </c:extLst>
          </c:dPt>
          <c:dPt>
            <c:idx val="39"/>
            <c:invertIfNegative val="1"/>
            <c:bubble3D val="0"/>
            <c:spPr>
              <a:solidFill>
                <a:srgbClr val="AEABAB"/>
              </a:solidFill>
            </c:spPr>
            <c:extLst>
              <c:ext xmlns:c16="http://schemas.microsoft.com/office/drawing/2014/chart" uri="{C3380CC4-5D6E-409C-BE32-E72D297353CC}">
                <c16:uniqueId val="{00000031-7980-4C82-8C1C-32D5A7B4E44B}"/>
              </c:ext>
            </c:extLst>
          </c:dPt>
          <c:dPt>
            <c:idx val="40"/>
            <c:invertIfNegative val="1"/>
            <c:bubble3D val="0"/>
            <c:spPr>
              <a:solidFill>
                <a:srgbClr val="AEABAB"/>
              </a:solidFill>
            </c:spPr>
            <c:extLst>
              <c:ext xmlns:c16="http://schemas.microsoft.com/office/drawing/2014/chart" uri="{C3380CC4-5D6E-409C-BE32-E72D297353CC}">
                <c16:uniqueId val="{00000032-7980-4C82-8C1C-32D5A7B4E44B}"/>
              </c:ext>
            </c:extLst>
          </c:dPt>
          <c:dPt>
            <c:idx val="41"/>
            <c:invertIfNegative val="1"/>
            <c:bubble3D val="0"/>
            <c:spPr>
              <a:solidFill>
                <a:srgbClr val="AEABAB"/>
              </a:solidFill>
            </c:spPr>
            <c:extLst>
              <c:ext xmlns:c16="http://schemas.microsoft.com/office/drawing/2014/chart" uri="{C3380CC4-5D6E-409C-BE32-E72D297353CC}">
                <c16:uniqueId val="{00000033-7980-4C82-8C1C-32D5A7B4E44B}"/>
              </c:ext>
            </c:extLst>
          </c:dPt>
          <c:dPt>
            <c:idx val="42"/>
            <c:invertIfNegative val="1"/>
            <c:bubble3D val="0"/>
            <c:spPr>
              <a:solidFill>
                <a:srgbClr val="AEABAB"/>
              </a:solidFill>
            </c:spPr>
            <c:extLst>
              <c:ext xmlns:c16="http://schemas.microsoft.com/office/drawing/2014/chart" uri="{C3380CC4-5D6E-409C-BE32-E72D297353CC}">
                <c16:uniqueId val="{00000009-7980-4C82-8C1C-32D5A7B4E44B}"/>
              </c:ext>
            </c:extLst>
          </c:dPt>
          <c:dPt>
            <c:idx val="43"/>
            <c:invertIfNegative val="1"/>
            <c:bubble3D val="0"/>
            <c:spPr>
              <a:solidFill>
                <a:srgbClr val="AEABAB"/>
              </a:solidFill>
            </c:spPr>
            <c:extLst>
              <c:ext xmlns:c16="http://schemas.microsoft.com/office/drawing/2014/chart" uri="{C3380CC4-5D6E-409C-BE32-E72D297353CC}">
                <c16:uniqueId val="{0000000B-7980-4C82-8C1C-32D5A7B4E44B}"/>
              </c:ext>
            </c:extLst>
          </c:dPt>
          <c:dPt>
            <c:idx val="44"/>
            <c:invertIfNegative val="0"/>
            <c:bubble3D val="0"/>
            <c:extLst>
              <c:ext xmlns:c16="http://schemas.microsoft.com/office/drawing/2014/chart" uri="{C3380CC4-5D6E-409C-BE32-E72D297353CC}">
                <c16:uniqueId val="{00000034-7980-4C82-8C1C-32D5A7B4E44B}"/>
              </c:ext>
            </c:extLst>
          </c:dPt>
          <c:dPt>
            <c:idx val="45"/>
            <c:invertIfNegative val="1"/>
            <c:bubble3D val="0"/>
            <c:spPr>
              <a:solidFill>
                <a:srgbClr val="AEABAB"/>
              </a:solidFill>
            </c:spPr>
            <c:extLst>
              <c:ext xmlns:c16="http://schemas.microsoft.com/office/drawing/2014/chart" uri="{C3380CC4-5D6E-409C-BE32-E72D297353CC}">
                <c16:uniqueId val="{00000035-7980-4C82-8C1C-32D5A7B4E44B}"/>
              </c:ext>
            </c:extLst>
          </c:dPt>
          <c:dPt>
            <c:idx val="46"/>
            <c:invertIfNegative val="1"/>
            <c:bubble3D val="0"/>
            <c:spPr>
              <a:solidFill>
                <a:srgbClr val="7ECAC4"/>
              </a:solidFill>
            </c:spPr>
            <c:extLst>
              <c:ext xmlns:c16="http://schemas.microsoft.com/office/drawing/2014/chart" uri="{C3380CC4-5D6E-409C-BE32-E72D297353CC}">
                <c16:uniqueId val="{00000036-7980-4C82-8C1C-32D5A7B4E44B}"/>
              </c:ext>
            </c:extLst>
          </c:dPt>
          <c:dPt>
            <c:idx val="47"/>
            <c:invertIfNegative val="1"/>
            <c:bubble3D val="0"/>
            <c:spPr>
              <a:solidFill>
                <a:srgbClr val="7ECAC4"/>
              </a:solidFill>
            </c:spPr>
            <c:extLst>
              <c:ext xmlns:c16="http://schemas.microsoft.com/office/drawing/2014/chart" uri="{C3380CC4-5D6E-409C-BE32-E72D297353CC}">
                <c16:uniqueId val="{00000037-7980-4C82-8C1C-32D5A7B4E44B}"/>
              </c:ext>
            </c:extLst>
          </c:dPt>
          <c:dPt>
            <c:idx val="48"/>
            <c:invertIfNegative val="1"/>
            <c:bubble3D val="0"/>
            <c:spPr>
              <a:solidFill>
                <a:srgbClr val="AEABAB"/>
              </a:solidFill>
            </c:spPr>
            <c:extLst>
              <c:ext xmlns:c16="http://schemas.microsoft.com/office/drawing/2014/chart" uri="{C3380CC4-5D6E-409C-BE32-E72D297353CC}">
                <c16:uniqueId val="{00000038-7980-4C82-8C1C-32D5A7B4E44B}"/>
              </c:ext>
            </c:extLst>
          </c:dPt>
          <c:dPt>
            <c:idx val="49"/>
            <c:invertIfNegative val="0"/>
            <c:bubble3D val="0"/>
            <c:extLst>
              <c:ext xmlns:c16="http://schemas.microsoft.com/office/drawing/2014/chart" uri="{C3380CC4-5D6E-409C-BE32-E72D297353CC}">
                <c16:uniqueId val="{00000039-7980-4C82-8C1C-32D5A7B4E44B}"/>
              </c:ext>
            </c:extLst>
          </c:dPt>
          <c:dPt>
            <c:idx val="50"/>
            <c:invertIfNegative val="0"/>
            <c:bubble3D val="0"/>
            <c:spPr>
              <a:solidFill>
                <a:srgbClr val="7ECAC4"/>
              </a:solidFill>
            </c:spPr>
            <c:extLst>
              <c:ext xmlns:c16="http://schemas.microsoft.com/office/drawing/2014/chart" uri="{C3380CC4-5D6E-409C-BE32-E72D297353CC}">
                <c16:uniqueId val="{0000003A-7980-4C82-8C1C-32D5A7B4E44B}"/>
              </c:ext>
            </c:extLst>
          </c:dPt>
          <c:dPt>
            <c:idx val="51"/>
            <c:invertIfNegative val="1"/>
            <c:bubble3D val="0"/>
            <c:spPr>
              <a:solidFill>
                <a:srgbClr val="7ECAC4"/>
              </a:solidFill>
            </c:spPr>
            <c:extLst>
              <c:ext xmlns:c16="http://schemas.microsoft.com/office/drawing/2014/chart" uri="{C3380CC4-5D6E-409C-BE32-E72D297353CC}">
                <c16:uniqueId val="{0000003B-7980-4C82-8C1C-32D5A7B4E44B}"/>
              </c:ext>
            </c:extLst>
          </c:dPt>
          <c:dPt>
            <c:idx val="52"/>
            <c:invertIfNegative val="1"/>
            <c:bubble3D val="0"/>
            <c:spPr>
              <a:solidFill>
                <a:srgbClr val="7ECAC4"/>
              </a:solidFill>
            </c:spPr>
            <c:extLst>
              <c:ext xmlns:c16="http://schemas.microsoft.com/office/drawing/2014/chart" uri="{C3380CC4-5D6E-409C-BE32-E72D297353CC}">
                <c16:uniqueId val="{0000003C-7980-4C82-8C1C-32D5A7B4E44B}"/>
              </c:ext>
            </c:extLst>
          </c:dPt>
          <c:dPt>
            <c:idx val="53"/>
            <c:invertIfNegative val="1"/>
            <c:bubble3D val="0"/>
            <c:spPr>
              <a:solidFill>
                <a:srgbClr val="7ECAC4"/>
              </a:solidFill>
            </c:spPr>
            <c:extLst>
              <c:ext xmlns:c16="http://schemas.microsoft.com/office/drawing/2014/chart" uri="{C3380CC4-5D6E-409C-BE32-E72D297353CC}">
                <c16:uniqueId val="{0000006B-77EF-42ED-BAFF-03BF265C16B5}"/>
              </c:ext>
            </c:extLst>
          </c:dPt>
          <c:dPt>
            <c:idx val="54"/>
            <c:invertIfNegative val="1"/>
            <c:bubble3D val="0"/>
            <c:spPr>
              <a:solidFill>
                <a:srgbClr val="7ECAC4"/>
              </a:solidFill>
            </c:spPr>
            <c:extLst>
              <c:ext xmlns:c16="http://schemas.microsoft.com/office/drawing/2014/chart" uri="{C3380CC4-5D6E-409C-BE32-E72D297353CC}">
                <c16:uniqueId val="{0000006D-77EF-42ED-BAFF-03BF265C16B5}"/>
              </c:ext>
            </c:extLst>
          </c:dPt>
          <c:dPt>
            <c:idx val="55"/>
            <c:invertIfNegative val="1"/>
            <c:bubble3D val="0"/>
            <c:spPr>
              <a:solidFill>
                <a:srgbClr val="AEABAB"/>
              </a:solidFill>
            </c:spPr>
            <c:extLst>
              <c:ext xmlns:c16="http://schemas.microsoft.com/office/drawing/2014/chart" uri="{C3380CC4-5D6E-409C-BE32-E72D297353CC}">
                <c16:uniqueId val="{0000006F-77EF-42ED-BAFF-03BF265C16B5}"/>
              </c:ext>
            </c:extLst>
          </c:dPt>
          <c:dPt>
            <c:idx val="56"/>
            <c:invertIfNegative val="1"/>
            <c:bubble3D val="0"/>
            <c:spPr>
              <a:solidFill>
                <a:srgbClr val="AEABAB"/>
              </a:solidFill>
            </c:spPr>
            <c:extLst>
              <c:ext xmlns:c16="http://schemas.microsoft.com/office/drawing/2014/chart" uri="{C3380CC4-5D6E-409C-BE32-E72D297353CC}">
                <c16:uniqueId val="{00000071-77EF-42ED-BAFF-03BF265C16B5}"/>
              </c:ext>
            </c:extLst>
          </c:dPt>
          <c:dPt>
            <c:idx val="57"/>
            <c:invertIfNegative val="1"/>
            <c:bubble3D val="0"/>
            <c:spPr>
              <a:solidFill>
                <a:srgbClr val="AEABAB"/>
              </a:solidFill>
            </c:spPr>
            <c:extLst>
              <c:ext xmlns:c16="http://schemas.microsoft.com/office/drawing/2014/chart" uri="{C3380CC4-5D6E-409C-BE32-E72D297353CC}">
                <c16:uniqueId val="{00000073-77EF-42ED-BAFF-03BF265C16B5}"/>
              </c:ext>
            </c:extLst>
          </c:dPt>
          <c:dPt>
            <c:idx val="58"/>
            <c:invertIfNegative val="1"/>
            <c:bubble3D val="0"/>
            <c:spPr>
              <a:solidFill>
                <a:srgbClr val="7ECAC4"/>
              </a:solidFill>
            </c:spPr>
            <c:extLst>
              <c:ext xmlns:c16="http://schemas.microsoft.com/office/drawing/2014/chart" uri="{C3380CC4-5D6E-409C-BE32-E72D297353CC}">
                <c16:uniqueId val="{00000075-77EF-42ED-BAFF-03BF265C16B5}"/>
              </c:ext>
            </c:extLst>
          </c:dPt>
          <c:dPt>
            <c:idx val="59"/>
            <c:invertIfNegative val="1"/>
            <c:bubble3D val="0"/>
            <c:spPr>
              <a:solidFill>
                <a:srgbClr val="AEABAB"/>
              </a:solidFill>
            </c:spPr>
            <c:extLst>
              <c:ext xmlns:c16="http://schemas.microsoft.com/office/drawing/2014/chart" uri="{C3380CC4-5D6E-409C-BE32-E72D297353CC}">
                <c16:uniqueId val="{00000077-77EF-42ED-BAFF-03BF265C16B5}"/>
              </c:ext>
            </c:extLst>
          </c:dPt>
          <c:dPt>
            <c:idx val="60"/>
            <c:invertIfNegative val="1"/>
            <c:bubble3D val="0"/>
            <c:spPr>
              <a:solidFill>
                <a:srgbClr val="AEABAB"/>
              </a:solidFill>
            </c:spPr>
            <c:extLst>
              <c:ext xmlns:c16="http://schemas.microsoft.com/office/drawing/2014/chart" uri="{C3380CC4-5D6E-409C-BE32-E72D297353CC}">
                <c16:uniqueId val="{00000079-77EF-42ED-BAFF-03BF265C16B5}"/>
              </c:ext>
            </c:extLst>
          </c:dPt>
          <c:dPt>
            <c:idx val="61"/>
            <c:invertIfNegative val="1"/>
            <c:bubble3D val="0"/>
            <c:spPr>
              <a:solidFill>
                <a:srgbClr val="AEABAB"/>
              </a:solidFill>
            </c:spPr>
            <c:extLst>
              <c:ext xmlns:c16="http://schemas.microsoft.com/office/drawing/2014/chart" uri="{C3380CC4-5D6E-409C-BE32-E72D297353CC}">
                <c16:uniqueId val="{0000007B-77EF-42ED-BAFF-03BF265C16B5}"/>
              </c:ext>
            </c:extLst>
          </c:dPt>
          <c:dPt>
            <c:idx val="62"/>
            <c:invertIfNegative val="1"/>
            <c:bubble3D val="0"/>
            <c:spPr>
              <a:solidFill>
                <a:srgbClr val="7ECAC4"/>
              </a:solidFill>
            </c:spPr>
            <c:extLst>
              <c:ext xmlns:c16="http://schemas.microsoft.com/office/drawing/2014/chart" uri="{C3380CC4-5D6E-409C-BE32-E72D297353CC}">
                <c16:uniqueId val="{0000007D-77EF-42ED-BAFF-03BF265C16B5}"/>
              </c:ext>
            </c:extLst>
          </c:dPt>
          <c:dPt>
            <c:idx val="63"/>
            <c:invertIfNegative val="1"/>
            <c:bubble3D val="0"/>
            <c:spPr>
              <a:solidFill>
                <a:srgbClr val="7ECAC4"/>
              </a:solidFill>
            </c:spPr>
            <c:extLst>
              <c:ext xmlns:c16="http://schemas.microsoft.com/office/drawing/2014/chart" uri="{C3380CC4-5D6E-409C-BE32-E72D297353CC}">
                <c16:uniqueId val="{0000007F-77EF-42ED-BAFF-03BF265C16B5}"/>
              </c:ext>
            </c:extLst>
          </c:dPt>
          <c:dPt>
            <c:idx val="64"/>
            <c:invertIfNegative val="1"/>
            <c:bubble3D val="0"/>
            <c:spPr>
              <a:solidFill>
                <a:srgbClr val="7ECAC4"/>
              </a:solidFill>
            </c:spPr>
            <c:extLst>
              <c:ext xmlns:c16="http://schemas.microsoft.com/office/drawing/2014/chart" uri="{C3380CC4-5D6E-409C-BE32-E72D297353CC}">
                <c16:uniqueId val="{00000081-77EF-42ED-BAFF-03BF265C16B5}"/>
              </c:ext>
            </c:extLst>
          </c:dPt>
          <c:dPt>
            <c:idx val="65"/>
            <c:invertIfNegative val="1"/>
            <c:bubble3D val="0"/>
            <c:spPr>
              <a:solidFill>
                <a:srgbClr val="7ECAC4"/>
              </a:solidFill>
            </c:spPr>
            <c:extLst>
              <c:ext xmlns:c16="http://schemas.microsoft.com/office/drawing/2014/chart" uri="{C3380CC4-5D6E-409C-BE32-E72D297353CC}">
                <c16:uniqueId val="{00000083-77EF-42ED-BAFF-03BF265C16B5}"/>
              </c:ext>
            </c:extLst>
          </c:dPt>
          <c:dPt>
            <c:idx val="66"/>
            <c:invertIfNegative val="1"/>
            <c:bubble3D val="0"/>
            <c:spPr>
              <a:solidFill>
                <a:srgbClr val="AEABAB"/>
              </a:solidFill>
            </c:spPr>
            <c:extLst>
              <c:ext xmlns:c16="http://schemas.microsoft.com/office/drawing/2014/chart" uri="{C3380CC4-5D6E-409C-BE32-E72D297353CC}">
                <c16:uniqueId val="{00000085-77EF-42ED-BAFF-03BF265C16B5}"/>
              </c:ext>
            </c:extLst>
          </c:dPt>
          <c:dPt>
            <c:idx val="67"/>
            <c:invertIfNegative val="1"/>
            <c:bubble3D val="0"/>
            <c:spPr>
              <a:solidFill>
                <a:srgbClr val="AEABAB"/>
              </a:solidFill>
            </c:spPr>
            <c:extLst>
              <c:ext xmlns:c16="http://schemas.microsoft.com/office/drawing/2014/chart" uri="{C3380CC4-5D6E-409C-BE32-E72D297353CC}">
                <c16:uniqueId val="{00000087-77EF-42ED-BAFF-03BF265C16B5}"/>
              </c:ext>
            </c:extLst>
          </c:dPt>
          <c:dPt>
            <c:idx val="68"/>
            <c:invertIfNegative val="1"/>
            <c:bubble3D val="0"/>
            <c:spPr>
              <a:solidFill>
                <a:srgbClr val="7ECAC4"/>
              </a:solidFill>
            </c:spPr>
            <c:extLst>
              <c:ext xmlns:c16="http://schemas.microsoft.com/office/drawing/2014/chart" uri="{C3380CC4-5D6E-409C-BE32-E72D297353CC}">
                <c16:uniqueId val="{00000089-77EF-42ED-BAFF-03BF265C16B5}"/>
              </c:ext>
            </c:extLst>
          </c:dPt>
          <c:dPt>
            <c:idx val="69"/>
            <c:invertIfNegative val="1"/>
            <c:bubble3D val="0"/>
            <c:spPr>
              <a:solidFill>
                <a:srgbClr val="AEABAB"/>
              </a:solidFill>
            </c:spPr>
            <c:extLst>
              <c:ext xmlns:c16="http://schemas.microsoft.com/office/drawing/2014/chart" uri="{C3380CC4-5D6E-409C-BE32-E72D297353CC}">
                <c16:uniqueId val="{0000008B-77EF-42ED-BAFF-03BF265C16B5}"/>
              </c:ext>
            </c:extLst>
          </c:dPt>
          <c:dPt>
            <c:idx val="70"/>
            <c:invertIfNegative val="1"/>
            <c:bubble3D val="0"/>
            <c:spPr>
              <a:solidFill>
                <a:srgbClr val="7ECAC4"/>
              </a:solidFill>
            </c:spPr>
            <c:extLst>
              <c:ext xmlns:c16="http://schemas.microsoft.com/office/drawing/2014/chart" uri="{C3380CC4-5D6E-409C-BE32-E72D297353CC}">
                <c16:uniqueId val="{0000008D-77EF-42ED-BAFF-03BF265C16B5}"/>
              </c:ext>
            </c:extLst>
          </c:dPt>
          <c:dPt>
            <c:idx val="71"/>
            <c:invertIfNegative val="1"/>
            <c:bubble3D val="0"/>
            <c:spPr>
              <a:solidFill>
                <a:srgbClr val="7ECAC4"/>
              </a:solidFill>
            </c:spPr>
            <c:extLst>
              <c:ext xmlns:c16="http://schemas.microsoft.com/office/drawing/2014/chart" uri="{C3380CC4-5D6E-409C-BE32-E72D297353CC}">
                <c16:uniqueId val="{0000008F-77EF-42ED-BAFF-03BF265C16B5}"/>
              </c:ext>
            </c:extLst>
          </c:dPt>
          <c:dPt>
            <c:idx val="72"/>
            <c:invertIfNegative val="1"/>
            <c:bubble3D val="0"/>
            <c:spPr>
              <a:solidFill>
                <a:srgbClr val="7ECAC4"/>
              </a:solidFill>
            </c:spPr>
            <c:extLst>
              <c:ext xmlns:c16="http://schemas.microsoft.com/office/drawing/2014/chart" uri="{C3380CC4-5D6E-409C-BE32-E72D297353CC}">
                <c16:uniqueId val="{00000091-77EF-42ED-BAFF-03BF265C16B5}"/>
              </c:ext>
            </c:extLst>
          </c:dPt>
          <c:dPt>
            <c:idx val="73"/>
            <c:invertIfNegative val="1"/>
            <c:bubble3D val="0"/>
            <c:spPr>
              <a:solidFill>
                <a:srgbClr val="AEABAB"/>
              </a:solidFill>
            </c:spPr>
            <c:extLst>
              <c:ext xmlns:c16="http://schemas.microsoft.com/office/drawing/2014/chart" uri="{C3380CC4-5D6E-409C-BE32-E72D297353CC}">
                <c16:uniqueId val="{00000093-77EF-42ED-BAFF-03BF265C16B5}"/>
              </c:ext>
            </c:extLst>
          </c:dPt>
          <c:dPt>
            <c:idx val="74"/>
            <c:invertIfNegative val="1"/>
            <c:bubble3D val="0"/>
            <c:spPr>
              <a:solidFill>
                <a:srgbClr val="7ECAC4"/>
              </a:solidFill>
            </c:spPr>
            <c:extLst>
              <c:ext xmlns:c16="http://schemas.microsoft.com/office/drawing/2014/chart" uri="{C3380CC4-5D6E-409C-BE32-E72D297353CC}">
                <c16:uniqueId val="{00000095-77EF-42ED-BAFF-03BF265C16B5}"/>
              </c:ext>
            </c:extLst>
          </c:dPt>
          <c:dPt>
            <c:idx val="75"/>
            <c:invertIfNegative val="1"/>
            <c:bubble3D val="0"/>
            <c:spPr>
              <a:solidFill>
                <a:srgbClr val="7ECAC4"/>
              </a:solidFill>
            </c:spPr>
            <c:extLst>
              <c:ext xmlns:c16="http://schemas.microsoft.com/office/drawing/2014/chart" uri="{C3380CC4-5D6E-409C-BE32-E72D297353CC}">
                <c16:uniqueId val="{00000097-77EF-42ED-BAFF-03BF265C16B5}"/>
              </c:ext>
            </c:extLst>
          </c:dPt>
          <c:dPt>
            <c:idx val="76"/>
            <c:invertIfNegative val="1"/>
            <c:bubble3D val="0"/>
            <c:spPr>
              <a:solidFill>
                <a:srgbClr val="AEABAB"/>
              </a:solidFill>
            </c:spPr>
            <c:extLst>
              <c:ext xmlns:c16="http://schemas.microsoft.com/office/drawing/2014/chart" uri="{C3380CC4-5D6E-409C-BE32-E72D297353CC}">
                <c16:uniqueId val="{00000099-77EF-42ED-BAFF-03BF265C16B5}"/>
              </c:ext>
            </c:extLst>
          </c:dPt>
          <c:dPt>
            <c:idx val="77"/>
            <c:invertIfNegative val="1"/>
            <c:bubble3D val="0"/>
            <c:spPr>
              <a:solidFill>
                <a:srgbClr val="AEABAB"/>
              </a:solidFill>
            </c:spPr>
            <c:extLst>
              <c:ext xmlns:c16="http://schemas.microsoft.com/office/drawing/2014/chart" uri="{C3380CC4-5D6E-409C-BE32-E72D297353CC}">
                <c16:uniqueId val="{0000009B-77EF-42ED-BAFF-03BF265C16B5}"/>
              </c:ext>
            </c:extLst>
          </c:dPt>
          <c:dPt>
            <c:idx val="78"/>
            <c:invertIfNegative val="1"/>
            <c:bubble3D val="0"/>
            <c:spPr>
              <a:solidFill>
                <a:srgbClr val="AEABAB"/>
              </a:solidFill>
            </c:spPr>
            <c:extLst>
              <c:ext xmlns:c16="http://schemas.microsoft.com/office/drawing/2014/chart" uri="{C3380CC4-5D6E-409C-BE32-E72D297353CC}">
                <c16:uniqueId val="{0000009D-77EF-42ED-BAFF-03BF265C16B5}"/>
              </c:ext>
            </c:extLst>
          </c:dPt>
          <c:dPt>
            <c:idx val="79"/>
            <c:invertIfNegative val="1"/>
            <c:bubble3D val="0"/>
            <c:spPr>
              <a:solidFill>
                <a:srgbClr val="7ECAC4"/>
              </a:solidFill>
            </c:spPr>
            <c:extLst>
              <c:ext xmlns:c16="http://schemas.microsoft.com/office/drawing/2014/chart" uri="{C3380CC4-5D6E-409C-BE32-E72D297353CC}">
                <c16:uniqueId val="{0000009F-77EF-42ED-BAFF-03BF265C16B5}"/>
              </c:ext>
            </c:extLst>
          </c:dPt>
          <c:dPt>
            <c:idx val="80"/>
            <c:invertIfNegative val="1"/>
            <c:bubble3D val="0"/>
            <c:spPr>
              <a:solidFill>
                <a:srgbClr val="AEABAB"/>
              </a:solidFill>
            </c:spPr>
            <c:extLst>
              <c:ext xmlns:c16="http://schemas.microsoft.com/office/drawing/2014/chart" uri="{C3380CC4-5D6E-409C-BE32-E72D297353CC}">
                <c16:uniqueId val="{000000A1-77EF-42ED-BAFF-03BF265C16B5}"/>
              </c:ext>
            </c:extLst>
          </c:dPt>
          <c:dPt>
            <c:idx val="81"/>
            <c:invertIfNegative val="1"/>
            <c:bubble3D val="0"/>
            <c:spPr>
              <a:solidFill>
                <a:srgbClr val="AEABAB"/>
              </a:solidFill>
            </c:spPr>
            <c:extLst>
              <c:ext xmlns:c16="http://schemas.microsoft.com/office/drawing/2014/chart" uri="{C3380CC4-5D6E-409C-BE32-E72D297353CC}">
                <c16:uniqueId val="{000000A3-77EF-42ED-BAFF-03BF265C16B5}"/>
              </c:ext>
            </c:extLst>
          </c:dPt>
          <c:dPt>
            <c:idx val="82"/>
            <c:invertIfNegative val="1"/>
            <c:bubble3D val="0"/>
            <c:spPr>
              <a:solidFill>
                <a:srgbClr val="AEABAB"/>
              </a:solidFill>
            </c:spPr>
            <c:extLst>
              <c:ext xmlns:c16="http://schemas.microsoft.com/office/drawing/2014/chart" uri="{C3380CC4-5D6E-409C-BE32-E72D297353CC}">
                <c16:uniqueId val="{000000A5-77EF-42ED-BAFF-03BF265C16B5}"/>
              </c:ext>
            </c:extLst>
          </c:dPt>
          <c:dPt>
            <c:idx val="83"/>
            <c:invertIfNegative val="1"/>
            <c:bubble3D val="0"/>
            <c:spPr>
              <a:solidFill>
                <a:srgbClr val="AEABAB"/>
              </a:solidFill>
            </c:spPr>
            <c:extLst>
              <c:ext xmlns:c16="http://schemas.microsoft.com/office/drawing/2014/chart" uri="{C3380CC4-5D6E-409C-BE32-E72D297353CC}">
                <c16:uniqueId val="{000000A7-77EF-42ED-BAFF-03BF265C16B5}"/>
              </c:ext>
            </c:extLst>
          </c:dPt>
          <c:dPt>
            <c:idx val="84"/>
            <c:invertIfNegative val="1"/>
            <c:bubble3D val="0"/>
            <c:spPr>
              <a:solidFill>
                <a:srgbClr val="AEABAB"/>
              </a:solidFill>
            </c:spPr>
            <c:extLst>
              <c:ext xmlns:c16="http://schemas.microsoft.com/office/drawing/2014/chart" uri="{C3380CC4-5D6E-409C-BE32-E72D297353CC}">
                <c16:uniqueId val="{000000A9-77EF-42ED-BAFF-03BF265C16B5}"/>
              </c:ext>
            </c:extLst>
          </c:dPt>
          <c:dPt>
            <c:idx val="85"/>
            <c:invertIfNegative val="1"/>
            <c:bubble3D val="0"/>
            <c:spPr>
              <a:solidFill>
                <a:srgbClr val="AEABAB"/>
              </a:solidFill>
            </c:spPr>
            <c:extLst>
              <c:ext xmlns:c16="http://schemas.microsoft.com/office/drawing/2014/chart" uri="{C3380CC4-5D6E-409C-BE32-E72D297353CC}">
                <c16:uniqueId val="{000000AB-77EF-42ED-BAFF-03BF265C16B5}"/>
              </c:ext>
            </c:extLst>
          </c:dPt>
          <c:dPt>
            <c:idx val="86"/>
            <c:invertIfNegative val="1"/>
            <c:bubble3D val="0"/>
            <c:spPr>
              <a:solidFill>
                <a:srgbClr val="AEABAB"/>
              </a:solidFill>
            </c:spPr>
            <c:extLst>
              <c:ext xmlns:c16="http://schemas.microsoft.com/office/drawing/2014/chart" uri="{C3380CC4-5D6E-409C-BE32-E72D297353CC}">
                <c16:uniqueId val="{000000AD-77EF-42ED-BAFF-03BF265C16B5}"/>
              </c:ext>
            </c:extLst>
          </c:dPt>
          <c:dPt>
            <c:idx val="87"/>
            <c:invertIfNegative val="1"/>
            <c:bubble3D val="0"/>
            <c:spPr>
              <a:solidFill>
                <a:srgbClr val="AEABAB"/>
              </a:solidFill>
            </c:spPr>
            <c:extLst>
              <c:ext xmlns:c16="http://schemas.microsoft.com/office/drawing/2014/chart" uri="{C3380CC4-5D6E-409C-BE32-E72D297353CC}">
                <c16:uniqueId val="{000000AF-77EF-42ED-BAFF-03BF265C16B5}"/>
              </c:ext>
            </c:extLst>
          </c:dPt>
          <c:dPt>
            <c:idx val="88"/>
            <c:invertIfNegative val="1"/>
            <c:bubble3D val="0"/>
            <c:spPr>
              <a:solidFill>
                <a:srgbClr val="AEABAB"/>
              </a:solidFill>
            </c:spPr>
            <c:extLst>
              <c:ext xmlns:c16="http://schemas.microsoft.com/office/drawing/2014/chart" uri="{C3380CC4-5D6E-409C-BE32-E72D297353CC}">
                <c16:uniqueId val="{000000B1-77EF-42ED-BAFF-03BF265C16B5}"/>
              </c:ext>
            </c:extLst>
          </c:dPt>
          <c:dPt>
            <c:idx val="89"/>
            <c:invertIfNegative val="1"/>
            <c:bubble3D val="0"/>
            <c:spPr>
              <a:solidFill>
                <a:srgbClr val="AEABAB"/>
              </a:solidFill>
            </c:spPr>
            <c:extLst>
              <c:ext xmlns:c16="http://schemas.microsoft.com/office/drawing/2014/chart" uri="{C3380CC4-5D6E-409C-BE32-E72D297353CC}">
                <c16:uniqueId val="{000000B3-77EF-42ED-BAFF-03BF265C16B5}"/>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7980-4C82-8C1C-32D5A7B4E44B}"/>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980-4C82-8C1C-32D5A7B4E44B}"/>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7980-4C82-8C1C-32D5A7B4E44B}"/>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7980-4C82-8C1C-32D5A7B4E44B}"/>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980-4C82-8C1C-32D5A7B4E44B}"/>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7980-4C82-8C1C-32D5A7B4E44B}"/>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7980-4C82-8C1C-32D5A7B4E44B}"/>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7980-4C82-8C1C-32D5A7B4E44B}"/>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7980-4C82-8C1C-32D5A7B4E44B}"/>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7980-4C82-8C1C-32D5A7B4E44B}"/>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7980-4C82-8C1C-32D5A7B4E44B}"/>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7980-4C82-8C1C-32D5A7B4E44B}"/>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7980-4C82-8C1C-32D5A7B4E44B}"/>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980-4C82-8C1C-32D5A7B4E44B}"/>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980-4C82-8C1C-32D5A7B4E44B}"/>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7980-4C82-8C1C-32D5A7B4E44B}"/>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7980-4C82-8C1C-32D5A7B4E44B}"/>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7980-4C82-8C1C-32D5A7B4E44B}"/>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7980-4C82-8C1C-32D5A7B4E44B}"/>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7980-4C82-8C1C-32D5A7B4E44B}"/>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7980-4C82-8C1C-32D5A7B4E44B}"/>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980-4C82-8C1C-32D5A7B4E44B}"/>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7980-4C82-8C1C-32D5A7B4E44B}"/>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980-4C82-8C1C-32D5A7B4E44B}"/>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7980-4C82-8C1C-32D5A7B4E44B}"/>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7980-4C82-8C1C-32D5A7B4E44B}"/>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7980-4C82-8C1C-32D5A7B4E44B}"/>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980-4C82-8C1C-32D5A7B4E44B}"/>
                </c:ext>
              </c:extLst>
            </c:dLbl>
            <c:dLbl>
              <c:idx val="28"/>
              <c:tx>
                <c:rich>
                  <a:bodyPr/>
                  <a:lstStyle/>
                  <a:p>
                    <a:r>
                      <a:rPr sz="500">
                        <a:solidFill>
                          <a:srgbClr val="006C6D"/>
                        </a:solidFill>
                      </a:rPr>
                      <a:t>Hawaiian Tropic Ozono Lotion FPS50+ 300ml</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980-4C82-8C1C-32D5A7B4E44B}"/>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7980-4C82-8C1C-32D5A7B4E44B}"/>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7980-4C82-8C1C-32D5A7B4E44B}"/>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7980-4C82-8C1C-32D5A7B4E44B}"/>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980-4C82-8C1C-32D5A7B4E44B}"/>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7980-4C82-8C1C-32D5A7B4E44B}"/>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7980-4C82-8C1C-32D5A7B4E44B}"/>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7980-4C82-8C1C-32D5A7B4E44B}"/>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7980-4C82-8C1C-32D5A7B4E44B}"/>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7980-4C82-8C1C-32D5A7B4E44B}"/>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7980-4C82-8C1C-32D5A7B4E44B}"/>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7980-4C82-8C1C-32D5A7B4E44B}"/>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4.4718783068783061E-2"/>
                      <c:h val="5.0377414451733424E-2"/>
                    </c:manualLayout>
                  </c15:layout>
                  <c15:showDataLabelsRange val="0"/>
                </c:ext>
                <c:ext xmlns:c16="http://schemas.microsoft.com/office/drawing/2014/chart" uri="{C3380CC4-5D6E-409C-BE32-E72D297353CC}">
                  <c16:uniqueId val="{00000032-7980-4C82-8C1C-32D5A7B4E44B}"/>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7980-4C82-8C1C-32D5A7B4E44B}"/>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980-4C82-8C1C-32D5A7B4E44B}"/>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7980-4C82-8C1C-32D5A7B4E44B}"/>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7980-4C82-8C1C-32D5A7B4E44B}"/>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7980-4C82-8C1C-32D5A7B4E44B}"/>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7980-4C82-8C1C-32D5A7B4E44B}"/>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7980-4C82-8C1C-32D5A7B4E44B}"/>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7980-4C82-8C1C-32D5A7B4E44B}"/>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9-7980-4C82-8C1C-32D5A7B4E44B}"/>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A-7980-4C82-8C1C-32D5A7B4E44B}"/>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B-7980-4C82-8C1C-32D5A7B4E44B}"/>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C-7980-4C82-8C1C-32D5A7B4E44B}"/>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77EF-42ED-BAFF-03BF265C16B5}"/>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77EF-42ED-BAFF-03BF265C16B5}"/>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77EF-42ED-BAFF-03BF265C16B5}"/>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77EF-42ED-BAFF-03BF265C16B5}"/>
                </c:ext>
              </c:extLst>
            </c:dLbl>
            <c:dLbl>
              <c:idx val="5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3-77EF-42ED-BAFF-03BF265C16B5}"/>
                </c:ext>
              </c:extLst>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77EF-42ED-BAFF-03BF265C16B5}"/>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77EF-42ED-BAFF-03BF265C16B5}"/>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77EF-42ED-BAFF-03BF265C16B5}"/>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77EF-42ED-BAFF-03BF265C16B5}"/>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77EF-42ED-BAFF-03BF265C16B5}"/>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77EF-42ED-BAFF-03BF265C16B5}"/>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77EF-42ED-BAFF-03BF265C16B5}"/>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77EF-42ED-BAFF-03BF265C16B5}"/>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77EF-42ED-BAFF-03BF265C16B5}"/>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77EF-42ED-BAFF-03BF265C16B5}"/>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77EF-42ED-BAFF-03BF265C16B5}"/>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77EF-42ED-BAFF-03BF265C16B5}"/>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77EF-42ED-BAFF-03BF265C16B5}"/>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77EF-42ED-BAFF-03BF265C16B5}"/>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77EF-42ED-BAFF-03BF265C16B5}"/>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77EF-42ED-BAFF-03BF265C16B5}"/>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77EF-42ED-BAFF-03BF265C16B5}"/>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77EF-42ED-BAFF-03BF265C16B5}"/>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77EF-42ED-BAFF-03BF265C16B5}"/>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77EF-42ED-BAFF-03BF265C16B5}"/>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77EF-42ED-BAFF-03BF265C16B5}"/>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77EF-42ED-BAFF-03BF265C16B5}"/>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77EF-42ED-BAFF-03BF265C16B5}"/>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77EF-42ED-BAFF-03BF265C16B5}"/>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77EF-42ED-BAFF-03BF265C16B5}"/>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77EF-42ED-BAFF-03BF265C16B5}"/>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77EF-42ED-BAFF-03BF265C16B5}"/>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77EF-42ED-BAFF-03BF265C16B5}"/>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77EF-42ED-BAFF-03BF265C16B5}"/>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77EF-42ED-BAFF-03BF265C16B5}"/>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77EF-42ED-BAFF-03BF265C16B5}"/>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Ozono Lotion FPS50+ 240ml</c:v>
                </c:pt>
                <c:pt idx="5">
                  <c:v>Hawaiian Tropic Sheer Touch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Equate Ultra Spray FPS50 156g</c:v>
                </c:pt>
                <c:pt idx="15">
                  <c:v>Hawaiian Tropic Sheer Touch Lotion FPS30 240ml</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Hawaiian Tropic Ozono Lotion FPS50+ 300ml</c:v>
                </c:pt>
                <c:pt idx="29">
                  <c:v>Neutrogena Sun Fresh Cream FPS50 120ml</c:v>
                </c:pt>
                <c:pt idx="30">
                  <c:v>Caribbean Beach Advanced Protection Cream FPS50+ 150g</c:v>
                </c:pt>
                <c:pt idx="31">
                  <c:v>Nivea Sun Face Stain Control FPS50+ 40ml</c:v>
                </c:pt>
                <c:pt idx="32">
                  <c:v>Nivea Sun Kids Protect &amp; Sensitive Spray FPS50+ 200ml</c:v>
                </c:pt>
                <c:pt idx="33">
                  <c:v>Caribbean Beach Sport Cream FPS50+ 150g</c:v>
                </c:pt>
                <c:pt idx="34">
                  <c:v>Hawaiian Tropic Silk Hydration Lotion FPS50 180ml</c:v>
                </c:pt>
                <c:pt idx="35">
                  <c:v>Garnier Super UV Serum FPS50+ 40ml</c:v>
                </c:pt>
                <c:pt idx="36">
                  <c:v>L'Oréal Paris UV DEFENDER Colored Fluid FPS50+ 40g</c:v>
                </c:pt>
                <c:pt idx="37">
                  <c:v>Caribbean Beach Kids Cream FPS50+ 250g</c:v>
                </c:pt>
                <c:pt idx="38">
                  <c:v>Hawaiian Tropic Ozono Lotion FPS50+ 120ml</c:v>
                </c:pt>
                <c:pt idx="39">
                  <c:v>Isdin Fotoprotector Fusion Water FPS50+ 50ml</c:v>
                </c:pt>
                <c:pt idx="40">
                  <c:v>Garnier Super UV Cream FPS50+ 40g</c:v>
                </c:pt>
                <c:pt idx="41">
                  <c:v>Nivea Sun Face Fluid Invisible FPS50+ 40ml</c:v>
                </c:pt>
                <c:pt idx="42">
                  <c:v>Nuvel Suncare Mineral FPS50 120ml</c:v>
                </c:pt>
                <c:pt idx="43">
                  <c:v>Nuvel Suncare Ultra Protection FPS50 120ml</c:v>
                </c:pt>
                <c:pt idx="44">
                  <c:v>La Roche Posay Anthelios XL Gel-Cream FPS50+ 50ml</c:v>
                </c:pt>
                <c:pt idx="45">
                  <c:v>Equate Sport Spray FPS30 156g</c:v>
                </c:pt>
                <c:pt idx="46">
                  <c:v>Banana Boat Aqua Protect Spray FPS50+ 170g</c:v>
                </c:pt>
                <c:pt idx="47">
                  <c:v>Banana Boat Kids Sport Lotion FPS50 180ml</c:v>
                </c:pt>
                <c:pt idx="48">
                  <c:v>Isdin Fotoprotector Fusion Water Magic Light FPS50+ 50ml</c:v>
                </c:pt>
                <c:pt idx="49">
                  <c:v>Equate Kids Stick FPS50 42g</c:v>
                </c:pt>
                <c:pt idx="50">
                  <c:v>Hawaiian Tropic Ozono Duo Defense Lotion FPS50+ 180ml</c:v>
                </c:pt>
                <c:pt idx="51">
                  <c:v>Hawaiian Tropic Ozono Spray FPS50+ 180ml</c:v>
                </c:pt>
                <c:pt idx="52">
                  <c:v>Hawaiian Tropic Island Sport Spray FPS50 220ml</c:v>
                </c:pt>
                <c:pt idx="53">
                  <c:v>Banana Boat Aqua Protect Sport Spray FPS50+ 170g</c:v>
                </c:pt>
                <c:pt idx="54">
                  <c:v>Banana Boat Dry Balance Sport Lotion FPS50+ 180ml</c:v>
                </c:pt>
                <c:pt idx="55">
                  <c:v>Nuvel Suncare Kids Protection FPS50 120ml</c:v>
                </c:pt>
                <c:pt idx="56">
                  <c:v>Isdin Fotoprotector Face and Body Gel-Cream FPS50+ 250ml</c:v>
                </c:pt>
                <c:pt idx="57">
                  <c:v>Caribbean Beach Vitamin E Face Cream FPS50+ 85ml</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384336235786234</c:v>
                </c:pt>
                <c:pt idx="1">
                  <c:v>0.057307294250152976</c:v>
                </c:pt>
                <c:pt idx="2">
                  <c:v>0.05056642876438335</c:v>
                </c:pt>
                <c:pt idx="3">
                  <c:v>0.045081866746129504</c:v>
                </c:pt>
                <c:pt idx="4">
                  <c:v>0.04272067179358166</c:v>
                </c:pt>
                <c:pt idx="5">
                  <c:v>0.042605313468364055</c:v>
                </c:pt>
                <c:pt idx="6">
                  <c:v>0.034832927857257986</c:v>
                </c:pt>
                <c:pt idx="7">
                  <c:v>0.030939215037911343</c:v>
                </c:pt>
                <c:pt idx="8">
                  <c:v>0.027632510860933886</c:v>
                </c:pt>
                <c:pt idx="9">
                  <c:v>0.026910445565475328</c:v>
                </c:pt>
                <c:pt idx="10">
                  <c:v>0.022499534785646192</c:v>
                </c:pt>
                <c:pt idx="11">
                  <c:v>0.022459224984974425</c:v>
                </c:pt>
                <c:pt idx="12">
                  <c:v>0.020200444346063214</c:v>
                </c:pt>
                <c:pt idx="13">
                  <c:v>0.019297113833026427</c:v>
                </c:pt>
                <c:pt idx="14">
                  <c:v>0.017239426522223242</c:v>
                </c:pt>
                <c:pt idx="15">
                  <c:v>0.017052940516735025</c:v>
                </c:pt>
                <c:pt idx="16">
                  <c:v>0.016999474085822943</c:v>
                </c:pt>
                <c:pt idx="17">
                  <c:v>0.01519992149609582</c:v>
                </c:pt>
                <c:pt idx="18">
                  <c:v>0.014725115685420715</c:v>
                </c:pt>
                <c:pt idx="19">
                  <c:v>0.014468774511018676</c:v>
                </c:pt>
                <c:pt idx="20">
                  <c:v>0.013899020672260107</c:v>
                </c:pt>
                <c:pt idx="21">
                  <c:v>0.013417527523480478</c:v>
                </c:pt>
                <c:pt idx="22">
                  <c:v>0.01237711593978832</c:v>
                </c:pt>
                <c:pt idx="23">
                  <c:v>0.012129982791799589</c:v>
                </c:pt>
                <c:pt idx="24">
                  <c:v>0.011963631765519584</c:v>
                </c:pt>
                <c:pt idx="25">
                  <c:v>0.011932812569894166</c:v>
                </c:pt>
                <c:pt idx="26">
                  <c:v>0.011711869575189998</c:v>
                </c:pt>
                <c:pt idx="27">
                  <c:v>0.010801167833586318</c:v>
                </c:pt>
                <c:pt idx="28">
                  <c:v>0.010740100112679583</c:v>
                </c:pt>
                <c:pt idx="29">
                  <c:v>0.01047888600105833</c:v>
                </c:pt>
                <c:pt idx="30">
                  <c:v>0.01034708098424151</c:v>
                </c:pt>
                <c:pt idx="31">
                  <c:v>0.00985150828730218</c:v>
                </c:pt>
                <c:pt idx="32">
                  <c:v>0.009807548882895884</c:v>
                </c:pt>
                <c:pt idx="33">
                  <c:v>0.009673077823238077</c:v>
                </c:pt>
                <c:pt idx="34">
                  <c:v>0.009410554539655381</c:v>
                </c:pt>
                <c:pt idx="35">
                  <c:v>0.0092458918077018</c:v>
                </c:pt>
                <c:pt idx="36">
                  <c:v>0.0091991131658186</c:v>
                </c:pt>
                <c:pt idx="37">
                  <c:v>0.009192057413708371</c:v>
                </c:pt>
                <c:pt idx="38">
                  <c:v>0.009170856238510484</c:v>
                </c:pt>
                <c:pt idx="39">
                  <c:v>0.0074953833199175755</c:v>
                </c:pt>
                <c:pt idx="40">
                  <c:v>0.007187340487560343</c:v>
                </c:pt>
                <c:pt idx="41">
                  <c:v>0.006990392551773012</c:v>
                </c:pt>
                <c:pt idx="42">
                  <c:v>0.006934586923541332</c:v>
                </c:pt>
                <c:pt idx="43">
                  <c:v>0.006832311334428086</c:v>
                </c:pt>
                <c:pt idx="44">
                  <c:v>0.0065962338213213225</c:v>
                </c:pt>
                <c:pt idx="45">
                  <c:v>0.006547422965411602</c:v>
                </c:pt>
                <c:pt idx="46">
                  <c:v>0.006472808935854903</c:v>
                </c:pt>
                <c:pt idx="47">
                  <c:v>0.006084863930129716</c:v>
                </c:pt>
                <c:pt idx="48">
                  <c:v>0.006001273728552454</c:v>
                </c:pt>
                <c:pt idx="49">
                  <c:v>0.0055364197291669325</c:v>
                </c:pt>
                <c:pt idx="50">
                  <c:v>0.005194575300067379</c:v>
                </c:pt>
                <c:pt idx="51">
                  <c:v>0.005175876710200196</c:v>
                </c:pt>
                <c:pt idx="52">
                  <c:v>0.004981185835343585</c:v>
                </c:pt>
                <c:pt idx="53">
                  <c:v>0.004803467240505408</c:v>
                </c:pt>
                <c:pt idx="54">
                  <c:v>0.004757548308275992</c:v>
                </c:pt>
                <c:pt idx="55">
                  <c:v>0.004693797855251328</c:v>
                </c:pt>
                <c:pt idx="56">
                  <c:v>0.004552499516252356</c:v>
                </c:pt>
                <c:pt idx="57">
                  <c:v>0.004522292738068524</c:v>
                </c:pt>
                <c:pt idx="58">
                  <c:v>0.004135845742207108</c:v>
                </c:pt>
                <c:pt idx="59">
                  <c:v>0.004098600344483988</c:v>
                </c:pt>
                <c:pt idx="60">
                  <c:v>0.003927824603818588</c:v>
                </c:pt>
                <c:pt idx="61">
                  <c:v>0.0037785224662344606</c:v>
                </c:pt>
                <c:pt idx="62">
                  <c:v>0.0036053221282611072</c:v>
                </c:pt>
                <c:pt idx="63">
                  <c:v>0.0034051733918308968</c:v>
                </c:pt>
                <c:pt idx="64">
                  <c:v>0.003056531774871312</c:v>
                </c:pt>
                <c:pt idx="65">
                  <c:v>0.0030395295321188325</c:v>
                </c:pt>
                <c:pt idx="66">
                  <c:v>0.0027782853787234802</c:v>
                </c:pt>
                <c:pt idx="67">
                  <c:v>0.0026720954093859273</c:v>
                </c:pt>
                <c:pt idx="68">
                  <c:v>0.001857636445923664</c:v>
                </c:pt>
                <c:pt idx="69">
                  <c:v>0.001641340648036373</c:v>
                </c:pt>
                <c:pt idx="70">
                  <c:v>0.0016267127470977727</c:v>
                </c:pt>
                <c:pt idx="71">
                  <c:v>0.0015024396103144892</c:v>
                </c:pt>
                <c:pt idx="72">
                  <c:v>0.0014817168164110938</c:v>
                </c:pt>
                <c:pt idx="73">
                  <c:v>0.0012849405335046246</c:v>
                </c:pt>
                <c:pt idx="74">
                  <c:v>0.0012209153855961112</c:v>
                </c:pt>
                <c:pt idx="75">
                  <c:v>0.0011477085936680116</c:v>
                </c:pt>
                <c:pt idx="76">
                  <c:v>0.0011204213871146961</c:v>
                </c:pt>
                <c:pt idx="77">
                  <c:v>0.001082801806824249</c:v>
                </c:pt>
                <c:pt idx="78">
                  <c:v>0.000915899386765478</c:v>
                </c:pt>
                <c:pt idx="79">
                  <c:v>0.0007137124338424314</c:v>
                </c:pt>
                <c:pt idx="80">
                  <c:v>0.0006139308039355175</c:v>
                </c:pt>
              </c:numCache>
            </c:numRef>
          </c:val>
          <c:extLst>
            <c:ext xmlns:c16="http://schemas.microsoft.com/office/drawing/2014/chart" uri="{C3380CC4-5D6E-409C-BE32-E72D297353CC}">
              <c16:uniqueId val="{00000042-7980-4C82-8C1C-32D5A7B4E44B}"/>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Hawaiian Tropic Ozono Stick FPS50+ 42g</c:v>
                </c:pt>
              </c:strCache>
            </c:strRef>
          </c:tx>
          <c:spPr>
            <a:solidFill>
              <a:srgbClr val="AEABAB"/>
            </a:solidFill>
            <a:ln>
              <a:noFill/>
            </a:ln>
            <a:effectLst/>
          </c:spPr>
          <c:invertIfNegative val="0"/>
          <c:dPt>
            <c:idx val="0"/>
            <c:invertIfNegative val="1"/>
            <c:bubble3D val="0"/>
            <c:spPr>
              <a:solidFill>
                <a:srgbClr val="AEABAB"/>
              </a:solidFill>
            </c:spPr>
            <c:extLst>
              <c:ext xmlns:c16="http://schemas.microsoft.com/office/drawing/2014/chart" uri="{C3380CC4-5D6E-409C-BE32-E72D297353CC}">
                <c16:uniqueId val="{00000008-A0D8-4FF8-BF2D-A6DC7B178F5A}"/>
              </c:ext>
            </c:extLst>
          </c:dPt>
          <c:dPt>
            <c:idx val="1"/>
            <c:invertIfNegative val="0"/>
            <c:bubble3D val="0"/>
            <c:extLst>
              <c:ext xmlns:c16="http://schemas.microsoft.com/office/drawing/2014/chart" uri="{C3380CC4-5D6E-409C-BE32-E72D297353CC}">
                <c16:uniqueId val="{00000009-A0D8-4FF8-BF2D-A6DC7B178F5A}"/>
              </c:ext>
            </c:extLst>
          </c:dPt>
          <c:dPt>
            <c:idx val="2"/>
            <c:invertIfNegative val="1"/>
            <c:bubble3D val="0"/>
            <c:spPr>
              <a:solidFill>
                <a:srgbClr val="AEABAB"/>
              </a:solidFill>
            </c:spPr>
            <c:extLst>
              <c:ext xmlns:c16="http://schemas.microsoft.com/office/drawing/2014/chart" uri="{C3380CC4-5D6E-409C-BE32-E72D297353CC}">
                <c16:uniqueId val="{0000000A-A0D8-4FF8-BF2D-A6DC7B178F5A}"/>
              </c:ext>
            </c:extLst>
          </c:dPt>
          <c:dPt>
            <c:idx val="3"/>
            <c:invertIfNegative val="1"/>
            <c:bubble3D val="0"/>
            <c:spPr>
              <a:solidFill>
                <a:srgbClr val="AEABAB"/>
              </a:solidFill>
            </c:spPr>
            <c:extLst>
              <c:ext xmlns:c16="http://schemas.microsoft.com/office/drawing/2014/chart" uri="{C3380CC4-5D6E-409C-BE32-E72D297353CC}">
                <c16:uniqueId val="{0000000B-A0D8-4FF8-BF2D-A6DC7B178F5A}"/>
              </c:ext>
            </c:extLst>
          </c:dPt>
          <c:dPt>
            <c:idx val="4"/>
            <c:invertIfNegative val="1"/>
            <c:bubble3D val="0"/>
            <c:spPr>
              <a:solidFill>
                <a:srgbClr val="7ECAC4"/>
              </a:solidFill>
            </c:spPr>
            <c:extLst>
              <c:ext xmlns:c16="http://schemas.microsoft.com/office/drawing/2014/chart" uri="{C3380CC4-5D6E-409C-BE32-E72D297353CC}">
                <c16:uniqueId val="{0000000C-A0D8-4FF8-BF2D-A6DC7B178F5A}"/>
              </c:ext>
            </c:extLst>
          </c:dPt>
          <c:dPt>
            <c:idx val="5"/>
            <c:invertIfNegative val="1"/>
            <c:bubble3D val="0"/>
            <c:spPr>
              <a:solidFill>
                <a:srgbClr val="7ECAC4"/>
              </a:solidFill>
            </c:spPr>
            <c:extLst>
              <c:ext xmlns:c16="http://schemas.microsoft.com/office/drawing/2014/chart" uri="{C3380CC4-5D6E-409C-BE32-E72D297353CC}">
                <c16:uniqueId val="{0000000D-A0D8-4FF8-BF2D-A6DC7B178F5A}"/>
              </c:ext>
            </c:extLst>
          </c:dPt>
          <c:dPt>
            <c:idx val="6"/>
            <c:invertIfNegative val="1"/>
            <c:bubble3D val="0"/>
            <c:spPr>
              <a:solidFill>
                <a:srgbClr val="7ECAC4"/>
              </a:solidFill>
            </c:spPr>
            <c:extLst>
              <c:ext xmlns:c16="http://schemas.microsoft.com/office/drawing/2014/chart" uri="{C3380CC4-5D6E-409C-BE32-E72D297353CC}">
                <c16:uniqueId val="{0000000E-A0D8-4FF8-BF2D-A6DC7B178F5A}"/>
              </c:ext>
            </c:extLst>
          </c:dPt>
          <c:dPt>
            <c:idx val="7"/>
            <c:invertIfNegative val="1"/>
            <c:bubble3D val="0"/>
            <c:spPr>
              <a:solidFill>
                <a:srgbClr val="7ECAC4"/>
              </a:solidFill>
            </c:spPr>
            <c:extLst>
              <c:ext xmlns:c16="http://schemas.microsoft.com/office/drawing/2014/chart" uri="{C3380CC4-5D6E-409C-BE32-E72D297353CC}">
                <c16:uniqueId val="{0000000F-A0D8-4FF8-BF2D-A6DC7B178F5A}"/>
              </c:ext>
            </c:extLst>
          </c:dPt>
          <c:dPt>
            <c:idx val="8"/>
            <c:invertIfNegative val="1"/>
            <c:bubble3D val="0"/>
            <c:spPr>
              <a:solidFill>
                <a:srgbClr val="7ECAC4"/>
              </a:solidFill>
            </c:spPr>
            <c:extLst>
              <c:ext xmlns:c16="http://schemas.microsoft.com/office/drawing/2014/chart" uri="{C3380CC4-5D6E-409C-BE32-E72D297353CC}">
                <c16:uniqueId val="{00000010-A0D8-4FF8-BF2D-A6DC7B178F5A}"/>
              </c:ext>
            </c:extLst>
          </c:dPt>
          <c:dPt>
            <c:idx val="9"/>
            <c:invertIfNegative val="1"/>
            <c:bubble3D val="0"/>
            <c:spPr>
              <a:solidFill>
                <a:srgbClr val="7ECAC4"/>
              </a:solidFill>
            </c:spPr>
            <c:extLst>
              <c:ext xmlns:c16="http://schemas.microsoft.com/office/drawing/2014/chart" uri="{C3380CC4-5D6E-409C-BE32-E72D297353CC}">
                <c16:uniqueId val="{00000011-A0D8-4FF8-BF2D-A6DC7B178F5A}"/>
              </c:ext>
            </c:extLst>
          </c:dPt>
          <c:dPt>
            <c:idx val="10"/>
            <c:invertIfNegative val="1"/>
            <c:bubble3D val="0"/>
            <c:spPr>
              <a:solidFill>
                <a:srgbClr val="AEABAB"/>
              </a:solidFill>
            </c:spPr>
            <c:extLst>
              <c:ext xmlns:c16="http://schemas.microsoft.com/office/drawing/2014/chart" uri="{C3380CC4-5D6E-409C-BE32-E72D297353CC}">
                <c16:uniqueId val="{00000001-A0D8-4FF8-BF2D-A6DC7B178F5A}"/>
              </c:ext>
            </c:extLst>
          </c:dPt>
          <c:dPt>
            <c:idx val="11"/>
            <c:invertIfNegative val="0"/>
            <c:bubble3D val="0"/>
            <c:extLst>
              <c:ext xmlns:c16="http://schemas.microsoft.com/office/drawing/2014/chart" uri="{C3380CC4-5D6E-409C-BE32-E72D297353CC}">
                <c16:uniqueId val="{00000003-A0D8-4FF8-BF2D-A6DC7B178F5A}"/>
              </c:ext>
            </c:extLst>
          </c:dPt>
          <c:dPt>
            <c:idx val="12"/>
            <c:invertIfNegative val="1"/>
            <c:bubble3D val="0"/>
            <c:spPr>
              <a:solidFill>
                <a:srgbClr val="AEABAB"/>
              </a:solidFill>
            </c:spPr>
            <c:extLst>
              <c:ext xmlns:c16="http://schemas.microsoft.com/office/drawing/2014/chart" uri="{C3380CC4-5D6E-409C-BE32-E72D297353CC}">
                <c16:uniqueId val="{00000005-A0D8-4FF8-BF2D-A6DC7B178F5A}"/>
              </c:ext>
            </c:extLst>
          </c:dPt>
          <c:dPt>
            <c:idx val="13"/>
            <c:invertIfNegative val="1"/>
            <c:bubble3D val="0"/>
            <c:spPr>
              <a:solidFill>
                <a:srgbClr val="7ECAC4"/>
              </a:solidFill>
            </c:spPr>
            <c:extLst>
              <c:ext xmlns:c16="http://schemas.microsoft.com/office/drawing/2014/chart" uri="{C3380CC4-5D6E-409C-BE32-E72D297353CC}">
                <c16:uniqueId val="{00000012-A0D8-4FF8-BF2D-A6DC7B178F5A}"/>
              </c:ext>
            </c:extLst>
          </c:dPt>
          <c:dPt>
            <c:idx val="14"/>
            <c:invertIfNegative val="1"/>
            <c:bubble3D val="0"/>
            <c:spPr>
              <a:solidFill>
                <a:srgbClr val="7ECAC4"/>
              </a:solidFill>
            </c:spPr>
            <c:extLst>
              <c:ext xmlns:c16="http://schemas.microsoft.com/office/drawing/2014/chart" uri="{C3380CC4-5D6E-409C-BE32-E72D297353CC}">
                <c16:uniqueId val="{00000013-A0D8-4FF8-BF2D-A6DC7B178F5A}"/>
              </c:ext>
            </c:extLst>
          </c:dPt>
          <c:dPt>
            <c:idx val="15"/>
            <c:invertIfNegative val="1"/>
            <c:bubble3D val="0"/>
            <c:spPr>
              <a:solidFill>
                <a:srgbClr val="AEABAB"/>
              </a:solidFill>
            </c:spPr>
            <c:extLst>
              <c:ext xmlns:c16="http://schemas.microsoft.com/office/drawing/2014/chart" uri="{C3380CC4-5D6E-409C-BE32-E72D297353CC}">
                <c16:uniqueId val="{00000014-A0D8-4FF8-BF2D-A6DC7B178F5A}"/>
              </c:ext>
            </c:extLst>
          </c:dPt>
          <c:dPt>
            <c:idx val="16"/>
            <c:invertIfNegative val="1"/>
            <c:bubble3D val="0"/>
            <c:spPr>
              <a:solidFill>
                <a:srgbClr val="AEABAB"/>
              </a:solidFill>
            </c:spPr>
            <c:extLst>
              <c:ext xmlns:c16="http://schemas.microsoft.com/office/drawing/2014/chart" uri="{C3380CC4-5D6E-409C-BE32-E72D297353CC}">
                <c16:uniqueId val="{00000015-A0D8-4FF8-BF2D-A6DC7B178F5A}"/>
              </c:ext>
            </c:extLst>
          </c:dPt>
          <c:dPt>
            <c:idx val="17"/>
            <c:invertIfNegative val="1"/>
            <c:bubble3D val="0"/>
            <c:spPr>
              <a:solidFill>
                <a:srgbClr val="AEABAB"/>
              </a:solidFill>
            </c:spPr>
            <c:extLst>
              <c:ext xmlns:c16="http://schemas.microsoft.com/office/drawing/2014/chart" uri="{C3380CC4-5D6E-409C-BE32-E72D297353CC}">
                <c16:uniqueId val="{00000016-A0D8-4FF8-BF2D-A6DC7B178F5A}"/>
              </c:ext>
            </c:extLst>
          </c:dPt>
          <c:dPt>
            <c:idx val="18"/>
            <c:invertIfNegative val="1"/>
            <c:bubble3D val="0"/>
            <c:spPr>
              <a:solidFill>
                <a:srgbClr val="AEABAB"/>
              </a:solidFill>
            </c:spPr>
            <c:extLst>
              <c:ext xmlns:c16="http://schemas.microsoft.com/office/drawing/2014/chart" uri="{C3380CC4-5D6E-409C-BE32-E72D297353CC}">
                <c16:uniqueId val="{00000017-A0D8-4FF8-BF2D-A6DC7B178F5A}"/>
              </c:ext>
            </c:extLst>
          </c:dPt>
          <c:dPt>
            <c:idx val="19"/>
            <c:invertIfNegative val="1"/>
            <c:bubble3D val="0"/>
            <c:spPr>
              <a:solidFill>
                <a:srgbClr val="AEABAB"/>
              </a:solidFill>
            </c:spPr>
            <c:extLst>
              <c:ext xmlns:c16="http://schemas.microsoft.com/office/drawing/2014/chart" uri="{C3380CC4-5D6E-409C-BE32-E72D297353CC}">
                <c16:uniqueId val="{00000018-A0D8-4FF8-BF2D-A6DC7B178F5A}"/>
              </c:ext>
            </c:extLst>
          </c:dPt>
          <c:dPt>
            <c:idx val="20"/>
            <c:invertIfNegative val="1"/>
            <c:bubble3D val="0"/>
            <c:spPr>
              <a:solidFill>
                <a:srgbClr val="7ECAC4"/>
              </a:solidFill>
            </c:spPr>
            <c:extLst>
              <c:ext xmlns:c16="http://schemas.microsoft.com/office/drawing/2014/chart" uri="{C3380CC4-5D6E-409C-BE32-E72D297353CC}">
                <c16:uniqueId val="{00000019-A0D8-4FF8-BF2D-A6DC7B178F5A}"/>
              </c:ext>
            </c:extLst>
          </c:dPt>
          <c:dPt>
            <c:idx val="21"/>
            <c:invertIfNegative val="1"/>
            <c:bubble3D val="0"/>
            <c:spPr>
              <a:solidFill>
                <a:srgbClr val="AEABAB"/>
              </a:solidFill>
            </c:spPr>
            <c:extLst>
              <c:ext xmlns:c16="http://schemas.microsoft.com/office/drawing/2014/chart" uri="{C3380CC4-5D6E-409C-BE32-E72D297353CC}">
                <c16:uniqueId val="{0000001A-A0D8-4FF8-BF2D-A6DC7B178F5A}"/>
              </c:ext>
            </c:extLst>
          </c:dPt>
          <c:dPt>
            <c:idx val="22"/>
            <c:invertIfNegative val="1"/>
            <c:bubble3D val="0"/>
            <c:spPr>
              <a:solidFill>
                <a:srgbClr val="AEABAB"/>
              </a:solidFill>
            </c:spPr>
            <c:extLst>
              <c:ext xmlns:c16="http://schemas.microsoft.com/office/drawing/2014/chart" uri="{C3380CC4-5D6E-409C-BE32-E72D297353CC}">
                <c16:uniqueId val="{0000001B-A0D8-4FF8-BF2D-A6DC7B178F5A}"/>
              </c:ext>
            </c:extLst>
          </c:dPt>
          <c:dPt>
            <c:idx val="23"/>
            <c:invertIfNegative val="1"/>
            <c:bubble3D val="0"/>
            <c:spPr>
              <a:solidFill>
                <a:srgbClr val="7ECAC4"/>
              </a:solidFill>
            </c:spPr>
            <c:extLst>
              <c:ext xmlns:c16="http://schemas.microsoft.com/office/drawing/2014/chart" uri="{C3380CC4-5D6E-409C-BE32-E72D297353CC}">
                <c16:uniqueId val="{0000001C-A0D8-4FF8-BF2D-A6DC7B178F5A}"/>
              </c:ext>
            </c:extLst>
          </c:dPt>
          <c:dPt>
            <c:idx val="24"/>
            <c:invertIfNegative val="1"/>
            <c:bubble3D val="0"/>
            <c:spPr>
              <a:solidFill>
                <a:srgbClr val="AEABAB"/>
              </a:solidFill>
            </c:spPr>
            <c:extLst>
              <c:ext xmlns:c16="http://schemas.microsoft.com/office/drawing/2014/chart" uri="{C3380CC4-5D6E-409C-BE32-E72D297353CC}">
                <c16:uniqueId val="{0000001D-A0D8-4FF8-BF2D-A6DC7B178F5A}"/>
              </c:ext>
            </c:extLst>
          </c:dPt>
          <c:dPt>
            <c:idx val="25"/>
            <c:invertIfNegative val="1"/>
            <c:bubble3D val="0"/>
            <c:spPr>
              <a:solidFill>
                <a:srgbClr val="AEABAB"/>
              </a:solidFill>
            </c:spPr>
            <c:extLst>
              <c:ext xmlns:c16="http://schemas.microsoft.com/office/drawing/2014/chart" uri="{C3380CC4-5D6E-409C-BE32-E72D297353CC}">
                <c16:uniqueId val="{0000001E-A0D8-4FF8-BF2D-A6DC7B178F5A}"/>
              </c:ext>
            </c:extLst>
          </c:dPt>
          <c:dPt>
            <c:idx val="26"/>
            <c:invertIfNegative val="1"/>
            <c:bubble3D val="0"/>
            <c:spPr>
              <a:solidFill>
                <a:srgbClr val="AEABAB"/>
              </a:solidFill>
            </c:spPr>
            <c:extLst>
              <c:ext xmlns:c16="http://schemas.microsoft.com/office/drawing/2014/chart" uri="{C3380CC4-5D6E-409C-BE32-E72D297353CC}">
                <c16:uniqueId val="{0000001F-A0D8-4FF8-BF2D-A6DC7B178F5A}"/>
              </c:ext>
            </c:extLst>
          </c:dPt>
          <c:dPt>
            <c:idx val="27"/>
            <c:invertIfNegative val="1"/>
            <c:bubble3D val="0"/>
            <c:spPr>
              <a:solidFill>
                <a:srgbClr val="AEABAB"/>
              </a:solidFill>
            </c:spPr>
            <c:extLst>
              <c:ext xmlns:c16="http://schemas.microsoft.com/office/drawing/2014/chart" uri="{C3380CC4-5D6E-409C-BE32-E72D297353CC}">
                <c16:uniqueId val="{00000020-A0D8-4FF8-BF2D-A6DC7B178F5A}"/>
              </c:ext>
            </c:extLst>
          </c:dPt>
          <c:dPt>
            <c:idx val="28"/>
            <c:invertIfNegative val="1"/>
            <c:bubble3D val="0"/>
            <c:spPr>
              <a:solidFill>
                <a:srgbClr val="AEABAB"/>
              </a:solidFill>
            </c:spPr>
            <c:extLst>
              <c:ext xmlns:c16="http://schemas.microsoft.com/office/drawing/2014/chart" uri="{C3380CC4-5D6E-409C-BE32-E72D297353CC}">
                <c16:uniqueId val="{00000021-A0D8-4FF8-BF2D-A6DC7B178F5A}"/>
              </c:ext>
            </c:extLst>
          </c:dPt>
          <c:dPt>
            <c:idx val="29"/>
            <c:invertIfNegative val="1"/>
            <c:bubble3D val="0"/>
            <c:spPr>
              <a:solidFill>
                <a:srgbClr val="AEABAB"/>
              </a:solidFill>
            </c:spPr>
            <c:extLst>
              <c:ext xmlns:c16="http://schemas.microsoft.com/office/drawing/2014/chart" uri="{C3380CC4-5D6E-409C-BE32-E72D297353CC}">
                <c16:uniqueId val="{00000022-A0D8-4FF8-BF2D-A6DC7B178F5A}"/>
              </c:ext>
            </c:extLst>
          </c:dPt>
          <c:dPt>
            <c:idx val="30"/>
            <c:invertIfNegative val="1"/>
            <c:bubble3D val="0"/>
            <c:spPr>
              <a:solidFill>
                <a:srgbClr val="AEABAB"/>
              </a:solidFill>
            </c:spPr>
            <c:extLst>
              <c:ext xmlns:c16="http://schemas.microsoft.com/office/drawing/2014/chart" uri="{C3380CC4-5D6E-409C-BE32-E72D297353CC}">
                <c16:uniqueId val="{00000023-A0D8-4FF8-BF2D-A6DC7B178F5A}"/>
              </c:ext>
            </c:extLst>
          </c:dPt>
          <c:dPt>
            <c:idx val="31"/>
            <c:invertIfNegative val="1"/>
            <c:bubble3D val="0"/>
            <c:spPr>
              <a:solidFill>
                <a:srgbClr val="AEABAB"/>
              </a:solidFill>
            </c:spPr>
            <c:extLst>
              <c:ext xmlns:c16="http://schemas.microsoft.com/office/drawing/2014/chart" uri="{C3380CC4-5D6E-409C-BE32-E72D297353CC}">
                <c16:uniqueId val="{00000024-A0D8-4FF8-BF2D-A6DC7B178F5A}"/>
              </c:ext>
            </c:extLst>
          </c:dPt>
          <c:dPt>
            <c:idx val="32"/>
            <c:invertIfNegative val="1"/>
            <c:bubble3D val="0"/>
            <c:spPr>
              <a:solidFill>
                <a:srgbClr val="AEABAB"/>
              </a:solidFill>
            </c:spPr>
            <c:extLst>
              <c:ext xmlns:c16="http://schemas.microsoft.com/office/drawing/2014/chart" uri="{C3380CC4-5D6E-409C-BE32-E72D297353CC}">
                <c16:uniqueId val="{00000025-A0D8-4FF8-BF2D-A6DC7B178F5A}"/>
              </c:ext>
            </c:extLst>
          </c:dPt>
          <c:dPt>
            <c:idx val="33"/>
            <c:invertIfNegative val="1"/>
            <c:bubble3D val="0"/>
            <c:spPr>
              <a:solidFill>
                <a:srgbClr val="7ECAC4"/>
              </a:solidFill>
            </c:spPr>
            <c:extLst>
              <c:ext xmlns:c16="http://schemas.microsoft.com/office/drawing/2014/chart" uri="{C3380CC4-5D6E-409C-BE32-E72D297353CC}">
                <c16:uniqueId val="{00000026-A0D8-4FF8-BF2D-A6DC7B178F5A}"/>
              </c:ext>
            </c:extLst>
          </c:dPt>
          <c:dPt>
            <c:idx val="34"/>
            <c:invertIfNegative val="1"/>
            <c:bubble3D val="0"/>
            <c:spPr>
              <a:solidFill>
                <a:srgbClr val="AEABAB"/>
              </a:solidFill>
            </c:spPr>
            <c:extLst>
              <c:ext xmlns:c16="http://schemas.microsoft.com/office/drawing/2014/chart" uri="{C3380CC4-5D6E-409C-BE32-E72D297353CC}">
                <c16:uniqueId val="{00000027-A0D8-4FF8-BF2D-A6DC7B178F5A}"/>
              </c:ext>
            </c:extLst>
          </c:dPt>
          <c:dPt>
            <c:idx val="35"/>
            <c:invertIfNegative val="1"/>
            <c:bubble3D val="0"/>
            <c:spPr>
              <a:solidFill>
                <a:srgbClr val="AEABAB"/>
              </a:solidFill>
            </c:spPr>
            <c:extLst>
              <c:ext xmlns:c16="http://schemas.microsoft.com/office/drawing/2014/chart" uri="{C3380CC4-5D6E-409C-BE32-E72D297353CC}">
                <c16:uniqueId val="{00000028-A0D8-4FF8-BF2D-A6DC7B178F5A}"/>
              </c:ext>
            </c:extLst>
          </c:dPt>
          <c:dPt>
            <c:idx val="36"/>
            <c:invertIfNegative val="1"/>
            <c:bubble3D val="0"/>
            <c:spPr>
              <a:solidFill>
                <a:srgbClr val="7ECAC4"/>
              </a:solidFill>
            </c:spPr>
            <c:extLst>
              <c:ext xmlns:c16="http://schemas.microsoft.com/office/drawing/2014/chart" uri="{C3380CC4-5D6E-409C-BE32-E72D297353CC}">
                <c16:uniqueId val="{00000029-A0D8-4FF8-BF2D-A6DC7B178F5A}"/>
              </c:ext>
            </c:extLst>
          </c:dPt>
          <c:dPt>
            <c:idx val="37"/>
            <c:invertIfNegative val="1"/>
            <c:bubble3D val="0"/>
            <c:spPr>
              <a:solidFill>
                <a:srgbClr val="AEABAB"/>
              </a:solidFill>
            </c:spPr>
            <c:extLst>
              <c:ext xmlns:c16="http://schemas.microsoft.com/office/drawing/2014/chart" uri="{C3380CC4-5D6E-409C-BE32-E72D297353CC}">
                <c16:uniqueId val="{0000002A-A0D8-4FF8-BF2D-A6DC7B178F5A}"/>
              </c:ext>
            </c:extLst>
          </c:dPt>
          <c:dPt>
            <c:idx val="38"/>
            <c:invertIfNegative val="1"/>
            <c:bubble3D val="0"/>
            <c:spPr>
              <a:solidFill>
                <a:srgbClr val="AEABAB"/>
              </a:solidFill>
            </c:spPr>
            <c:extLst>
              <c:ext xmlns:c16="http://schemas.microsoft.com/office/drawing/2014/chart" uri="{C3380CC4-5D6E-409C-BE32-E72D297353CC}">
                <c16:uniqueId val="{0000002B-A0D8-4FF8-BF2D-A6DC7B178F5A}"/>
              </c:ext>
            </c:extLst>
          </c:dPt>
          <c:dPt>
            <c:idx val="39"/>
            <c:invertIfNegative val="1"/>
            <c:bubble3D val="0"/>
            <c:spPr>
              <a:solidFill>
                <a:srgbClr val="AEABAB"/>
              </a:solidFill>
            </c:spPr>
            <c:extLst>
              <c:ext xmlns:c16="http://schemas.microsoft.com/office/drawing/2014/chart" uri="{C3380CC4-5D6E-409C-BE32-E72D297353CC}">
                <c16:uniqueId val="{0000002C-A0D8-4FF8-BF2D-A6DC7B178F5A}"/>
              </c:ext>
            </c:extLst>
          </c:dPt>
          <c:dPt>
            <c:idx val="40"/>
            <c:invertIfNegative val="1"/>
            <c:bubble3D val="0"/>
            <c:spPr>
              <a:solidFill>
                <a:srgbClr val="AEABAB"/>
              </a:solidFill>
            </c:spPr>
            <c:extLst>
              <c:ext xmlns:c16="http://schemas.microsoft.com/office/drawing/2014/chart" uri="{C3380CC4-5D6E-409C-BE32-E72D297353CC}">
                <c16:uniqueId val="{0000002D-A0D8-4FF8-BF2D-A6DC7B178F5A}"/>
              </c:ext>
            </c:extLst>
          </c:dPt>
          <c:dPt>
            <c:idx val="41"/>
            <c:invertIfNegative val="1"/>
            <c:bubble3D val="0"/>
            <c:spPr>
              <a:solidFill>
                <a:srgbClr val="AEABAB"/>
              </a:solidFill>
            </c:spPr>
            <c:extLst>
              <c:ext xmlns:c16="http://schemas.microsoft.com/office/drawing/2014/chart" uri="{C3380CC4-5D6E-409C-BE32-E72D297353CC}">
                <c16:uniqueId val="{0000002E-A0D8-4FF8-BF2D-A6DC7B178F5A}"/>
              </c:ext>
            </c:extLst>
          </c:dPt>
          <c:dPt>
            <c:idx val="42"/>
            <c:invertIfNegative val="1"/>
            <c:bubble3D val="0"/>
            <c:spPr>
              <a:solidFill>
                <a:srgbClr val="AEABAB"/>
              </a:solidFill>
            </c:spPr>
            <c:extLst>
              <c:ext xmlns:c16="http://schemas.microsoft.com/office/drawing/2014/chart" uri="{C3380CC4-5D6E-409C-BE32-E72D297353CC}">
                <c16:uniqueId val="{00000007-A0D8-4FF8-BF2D-A6DC7B178F5A}"/>
              </c:ext>
            </c:extLst>
          </c:dPt>
          <c:dPt>
            <c:idx val="43"/>
            <c:invertIfNegative val="1"/>
            <c:bubble3D val="0"/>
            <c:spPr>
              <a:solidFill>
                <a:srgbClr val="AEABAB"/>
              </a:solidFill>
            </c:spPr>
            <c:extLst>
              <c:ext xmlns:c16="http://schemas.microsoft.com/office/drawing/2014/chart" uri="{C3380CC4-5D6E-409C-BE32-E72D297353CC}">
                <c16:uniqueId val="{0000002F-A0D8-4FF8-BF2D-A6DC7B178F5A}"/>
              </c:ext>
            </c:extLst>
          </c:dPt>
          <c:dPt>
            <c:idx val="44"/>
            <c:invertIfNegative val="1"/>
            <c:bubble3D val="0"/>
            <c:spPr>
              <a:solidFill>
                <a:srgbClr val="AEABAB"/>
              </a:solidFill>
            </c:spPr>
            <c:extLst>
              <c:ext xmlns:c16="http://schemas.microsoft.com/office/drawing/2014/chart" uri="{C3380CC4-5D6E-409C-BE32-E72D297353CC}">
                <c16:uniqueId val="{00000030-A0D8-4FF8-BF2D-A6DC7B178F5A}"/>
              </c:ext>
            </c:extLst>
          </c:dPt>
          <c:dPt>
            <c:idx val="45"/>
            <c:invertIfNegative val="1"/>
            <c:bubble3D val="0"/>
            <c:spPr>
              <a:solidFill>
                <a:srgbClr val="7ECAC4"/>
              </a:solidFill>
            </c:spPr>
            <c:extLst>
              <c:ext xmlns:c16="http://schemas.microsoft.com/office/drawing/2014/chart" uri="{C3380CC4-5D6E-409C-BE32-E72D297353CC}">
                <c16:uniqueId val="{00000031-A0D8-4FF8-BF2D-A6DC7B178F5A}"/>
              </c:ext>
            </c:extLst>
          </c:dPt>
          <c:dPt>
            <c:idx val="46"/>
            <c:invertIfNegative val="0"/>
            <c:bubble3D val="0"/>
            <c:spPr>
              <a:solidFill>
                <a:srgbClr val="7ECAC4"/>
              </a:solidFill>
            </c:spPr>
            <c:extLst>
              <c:ext xmlns:c16="http://schemas.microsoft.com/office/drawing/2014/chart" uri="{C3380CC4-5D6E-409C-BE32-E72D297353CC}">
                <c16:uniqueId val="{00000032-A0D8-4FF8-BF2D-A6DC7B178F5A}"/>
              </c:ext>
            </c:extLst>
          </c:dPt>
          <c:dPt>
            <c:idx val="47"/>
            <c:invertIfNegative val="1"/>
            <c:bubble3D val="0"/>
            <c:spPr>
              <a:solidFill>
                <a:srgbClr val="AEABAB"/>
              </a:solidFill>
            </c:spPr>
            <c:extLst>
              <c:ext xmlns:c16="http://schemas.microsoft.com/office/drawing/2014/chart" uri="{C3380CC4-5D6E-409C-BE32-E72D297353CC}">
                <c16:uniqueId val="{00000033-A0D8-4FF8-BF2D-A6DC7B178F5A}"/>
              </c:ext>
            </c:extLst>
          </c:dPt>
          <c:dPt>
            <c:idx val="48"/>
            <c:invertIfNegative val="0"/>
            <c:bubble3D val="0"/>
            <c:extLst>
              <c:ext xmlns:c16="http://schemas.microsoft.com/office/drawing/2014/chart" uri="{C3380CC4-5D6E-409C-BE32-E72D297353CC}">
                <c16:uniqueId val="{00000034-A0D8-4FF8-BF2D-A6DC7B178F5A}"/>
              </c:ext>
            </c:extLst>
          </c:dPt>
          <c:dPt>
            <c:idx val="49"/>
            <c:invertIfNegative val="1"/>
            <c:bubble3D val="0"/>
            <c:spPr>
              <a:solidFill>
                <a:srgbClr val="7ECAC4"/>
              </a:solidFill>
            </c:spPr>
            <c:extLst>
              <c:ext xmlns:c16="http://schemas.microsoft.com/office/drawing/2014/chart" uri="{C3380CC4-5D6E-409C-BE32-E72D297353CC}">
                <c16:uniqueId val="{00000035-A0D8-4FF8-BF2D-A6DC7B178F5A}"/>
              </c:ext>
            </c:extLst>
          </c:dPt>
          <c:dPt>
            <c:idx val="50"/>
            <c:invertIfNegative val="1"/>
            <c:bubble3D val="0"/>
            <c:spPr>
              <a:solidFill>
                <a:srgbClr val="7ECAC4"/>
              </a:solidFill>
            </c:spPr>
            <c:extLst>
              <c:ext xmlns:c16="http://schemas.microsoft.com/office/drawing/2014/chart" uri="{C3380CC4-5D6E-409C-BE32-E72D297353CC}">
                <c16:uniqueId val="{00000036-A0D8-4FF8-BF2D-A6DC7B178F5A}"/>
              </c:ext>
            </c:extLst>
          </c:dPt>
          <c:dPt>
            <c:idx val="51"/>
            <c:invertIfNegative val="1"/>
            <c:bubble3D val="0"/>
            <c:spPr>
              <a:solidFill>
                <a:srgbClr val="7ECAC4"/>
              </a:solidFill>
            </c:spPr>
            <c:extLst>
              <c:ext xmlns:c16="http://schemas.microsoft.com/office/drawing/2014/chart" uri="{C3380CC4-5D6E-409C-BE32-E72D297353CC}">
                <c16:uniqueId val="{00000037-A0D8-4FF8-BF2D-A6DC7B178F5A}"/>
              </c:ext>
            </c:extLst>
          </c:dPt>
          <c:dPt>
            <c:idx val="52"/>
            <c:invertIfNegative val="0"/>
            <c:bubble3D val="0"/>
            <c:spPr>
              <a:solidFill>
                <a:srgbClr val="7ECAC4"/>
              </a:solidFill>
            </c:spPr>
            <c:extLst>
              <c:ext xmlns:c16="http://schemas.microsoft.com/office/drawing/2014/chart" uri="{C3380CC4-5D6E-409C-BE32-E72D297353CC}">
                <c16:uniqueId val="{00000038-A0D8-4FF8-BF2D-A6DC7B178F5A}"/>
              </c:ext>
            </c:extLst>
          </c:dPt>
          <c:dPt>
            <c:idx val="53"/>
            <c:invertIfNegative val="1"/>
            <c:bubble3D val="0"/>
            <c:spPr>
              <a:solidFill>
                <a:srgbClr val="7ECAC4"/>
              </a:solidFill>
            </c:spPr>
            <c:extLst>
              <c:ext xmlns:c16="http://schemas.microsoft.com/office/drawing/2014/chart" uri="{C3380CC4-5D6E-409C-BE32-E72D297353CC}">
                <c16:uniqueId val="{0000006B-B572-4DF2-A18B-EB5D630E70B4}"/>
              </c:ext>
            </c:extLst>
          </c:dPt>
          <c:dPt>
            <c:idx val="54"/>
            <c:invertIfNegative val="1"/>
            <c:bubble3D val="0"/>
            <c:spPr>
              <a:solidFill>
                <a:srgbClr val="AEABAB"/>
              </a:solidFill>
            </c:spPr>
            <c:extLst>
              <c:ext xmlns:c16="http://schemas.microsoft.com/office/drawing/2014/chart" uri="{C3380CC4-5D6E-409C-BE32-E72D297353CC}">
                <c16:uniqueId val="{0000006D-B572-4DF2-A18B-EB5D630E70B4}"/>
              </c:ext>
            </c:extLst>
          </c:dPt>
          <c:dPt>
            <c:idx val="55"/>
            <c:invertIfNegative val="1"/>
            <c:bubble3D val="0"/>
            <c:spPr>
              <a:solidFill>
                <a:srgbClr val="AEABAB"/>
              </a:solidFill>
            </c:spPr>
            <c:extLst>
              <c:ext xmlns:c16="http://schemas.microsoft.com/office/drawing/2014/chart" uri="{C3380CC4-5D6E-409C-BE32-E72D297353CC}">
                <c16:uniqueId val="{0000006F-B572-4DF2-A18B-EB5D630E70B4}"/>
              </c:ext>
            </c:extLst>
          </c:dPt>
          <c:dPt>
            <c:idx val="56"/>
            <c:invertIfNegative val="1"/>
            <c:bubble3D val="0"/>
            <c:spPr>
              <a:solidFill>
                <a:srgbClr val="AEABAB"/>
              </a:solidFill>
            </c:spPr>
            <c:extLst>
              <c:ext xmlns:c16="http://schemas.microsoft.com/office/drawing/2014/chart" uri="{C3380CC4-5D6E-409C-BE32-E72D297353CC}">
                <c16:uniqueId val="{00000071-B572-4DF2-A18B-EB5D630E70B4}"/>
              </c:ext>
            </c:extLst>
          </c:dPt>
          <c:dPt>
            <c:idx val="57"/>
            <c:invertIfNegative val="1"/>
            <c:bubble3D val="0"/>
            <c:spPr>
              <a:solidFill>
                <a:srgbClr val="006C6D"/>
              </a:solidFill>
            </c:spPr>
            <c:extLst>
              <c:ext xmlns:c16="http://schemas.microsoft.com/office/drawing/2014/chart" uri="{C3380CC4-5D6E-409C-BE32-E72D297353CC}">
                <c16:uniqueId val="{00000073-B572-4DF2-A18B-EB5D630E70B4}"/>
              </c:ext>
            </c:extLst>
          </c:dPt>
          <c:dPt>
            <c:idx val="58"/>
            <c:invertIfNegative val="1"/>
            <c:bubble3D val="0"/>
            <c:spPr>
              <a:solidFill>
                <a:srgbClr val="7ECAC4"/>
              </a:solidFill>
            </c:spPr>
            <c:extLst>
              <c:ext xmlns:c16="http://schemas.microsoft.com/office/drawing/2014/chart" uri="{C3380CC4-5D6E-409C-BE32-E72D297353CC}">
                <c16:uniqueId val="{00000075-B572-4DF2-A18B-EB5D630E70B4}"/>
              </c:ext>
            </c:extLst>
          </c:dPt>
          <c:dPt>
            <c:idx val="59"/>
            <c:invertIfNegative val="1"/>
            <c:bubble3D val="0"/>
            <c:spPr>
              <a:solidFill>
                <a:srgbClr val="AEABAB"/>
              </a:solidFill>
            </c:spPr>
            <c:extLst>
              <c:ext xmlns:c16="http://schemas.microsoft.com/office/drawing/2014/chart" uri="{C3380CC4-5D6E-409C-BE32-E72D297353CC}">
                <c16:uniqueId val="{00000077-B572-4DF2-A18B-EB5D630E70B4}"/>
              </c:ext>
            </c:extLst>
          </c:dPt>
          <c:dPt>
            <c:idx val="60"/>
            <c:invertIfNegative val="1"/>
            <c:bubble3D val="0"/>
            <c:spPr>
              <a:solidFill>
                <a:srgbClr val="AEABAB"/>
              </a:solidFill>
            </c:spPr>
            <c:extLst>
              <c:ext xmlns:c16="http://schemas.microsoft.com/office/drawing/2014/chart" uri="{C3380CC4-5D6E-409C-BE32-E72D297353CC}">
                <c16:uniqueId val="{00000079-B572-4DF2-A18B-EB5D630E70B4}"/>
              </c:ext>
            </c:extLst>
          </c:dPt>
          <c:dPt>
            <c:idx val="61"/>
            <c:invertIfNegative val="1"/>
            <c:bubble3D val="0"/>
            <c:spPr>
              <a:solidFill>
                <a:srgbClr val="AEABAB"/>
              </a:solidFill>
            </c:spPr>
            <c:extLst>
              <c:ext xmlns:c16="http://schemas.microsoft.com/office/drawing/2014/chart" uri="{C3380CC4-5D6E-409C-BE32-E72D297353CC}">
                <c16:uniqueId val="{0000007B-B572-4DF2-A18B-EB5D630E70B4}"/>
              </c:ext>
            </c:extLst>
          </c:dPt>
          <c:dPt>
            <c:idx val="62"/>
            <c:invertIfNegative val="1"/>
            <c:bubble3D val="0"/>
            <c:spPr>
              <a:solidFill>
                <a:srgbClr val="7ECAC4"/>
              </a:solidFill>
            </c:spPr>
            <c:extLst>
              <c:ext xmlns:c16="http://schemas.microsoft.com/office/drawing/2014/chart" uri="{C3380CC4-5D6E-409C-BE32-E72D297353CC}">
                <c16:uniqueId val="{0000007D-B572-4DF2-A18B-EB5D630E70B4}"/>
              </c:ext>
            </c:extLst>
          </c:dPt>
          <c:dPt>
            <c:idx val="63"/>
            <c:invertIfNegative val="1"/>
            <c:bubble3D val="0"/>
            <c:spPr>
              <a:solidFill>
                <a:srgbClr val="7ECAC4"/>
              </a:solidFill>
            </c:spPr>
            <c:extLst>
              <c:ext xmlns:c16="http://schemas.microsoft.com/office/drawing/2014/chart" uri="{C3380CC4-5D6E-409C-BE32-E72D297353CC}">
                <c16:uniqueId val="{0000007F-B572-4DF2-A18B-EB5D630E70B4}"/>
              </c:ext>
            </c:extLst>
          </c:dPt>
          <c:dPt>
            <c:idx val="64"/>
            <c:invertIfNegative val="1"/>
            <c:bubble3D val="0"/>
            <c:spPr>
              <a:solidFill>
                <a:srgbClr val="7ECAC4"/>
              </a:solidFill>
            </c:spPr>
            <c:extLst>
              <c:ext xmlns:c16="http://schemas.microsoft.com/office/drawing/2014/chart" uri="{C3380CC4-5D6E-409C-BE32-E72D297353CC}">
                <c16:uniqueId val="{00000081-B572-4DF2-A18B-EB5D630E70B4}"/>
              </c:ext>
            </c:extLst>
          </c:dPt>
          <c:dPt>
            <c:idx val="65"/>
            <c:invertIfNegative val="1"/>
            <c:bubble3D val="0"/>
            <c:spPr>
              <a:solidFill>
                <a:srgbClr val="7ECAC4"/>
              </a:solidFill>
            </c:spPr>
            <c:extLst>
              <c:ext xmlns:c16="http://schemas.microsoft.com/office/drawing/2014/chart" uri="{C3380CC4-5D6E-409C-BE32-E72D297353CC}">
                <c16:uniqueId val="{00000083-B572-4DF2-A18B-EB5D630E70B4}"/>
              </c:ext>
            </c:extLst>
          </c:dPt>
          <c:dPt>
            <c:idx val="66"/>
            <c:invertIfNegative val="1"/>
            <c:bubble3D val="0"/>
            <c:spPr>
              <a:solidFill>
                <a:srgbClr val="AEABAB"/>
              </a:solidFill>
            </c:spPr>
            <c:extLst>
              <c:ext xmlns:c16="http://schemas.microsoft.com/office/drawing/2014/chart" uri="{C3380CC4-5D6E-409C-BE32-E72D297353CC}">
                <c16:uniqueId val="{00000085-B572-4DF2-A18B-EB5D630E70B4}"/>
              </c:ext>
            </c:extLst>
          </c:dPt>
          <c:dPt>
            <c:idx val="67"/>
            <c:invertIfNegative val="1"/>
            <c:bubble3D val="0"/>
            <c:spPr>
              <a:solidFill>
                <a:srgbClr val="AEABAB"/>
              </a:solidFill>
            </c:spPr>
            <c:extLst>
              <c:ext xmlns:c16="http://schemas.microsoft.com/office/drawing/2014/chart" uri="{C3380CC4-5D6E-409C-BE32-E72D297353CC}">
                <c16:uniqueId val="{00000087-B572-4DF2-A18B-EB5D630E70B4}"/>
              </c:ext>
            </c:extLst>
          </c:dPt>
          <c:dPt>
            <c:idx val="68"/>
            <c:invertIfNegative val="1"/>
            <c:bubble3D val="0"/>
            <c:spPr>
              <a:solidFill>
                <a:srgbClr val="7ECAC4"/>
              </a:solidFill>
            </c:spPr>
            <c:extLst>
              <c:ext xmlns:c16="http://schemas.microsoft.com/office/drawing/2014/chart" uri="{C3380CC4-5D6E-409C-BE32-E72D297353CC}">
                <c16:uniqueId val="{00000089-B572-4DF2-A18B-EB5D630E70B4}"/>
              </c:ext>
            </c:extLst>
          </c:dPt>
          <c:dPt>
            <c:idx val="69"/>
            <c:invertIfNegative val="1"/>
            <c:bubble3D val="0"/>
            <c:spPr>
              <a:solidFill>
                <a:srgbClr val="AEABAB"/>
              </a:solidFill>
            </c:spPr>
            <c:extLst>
              <c:ext xmlns:c16="http://schemas.microsoft.com/office/drawing/2014/chart" uri="{C3380CC4-5D6E-409C-BE32-E72D297353CC}">
                <c16:uniqueId val="{0000008B-B572-4DF2-A18B-EB5D630E70B4}"/>
              </c:ext>
            </c:extLst>
          </c:dPt>
          <c:dPt>
            <c:idx val="70"/>
            <c:invertIfNegative val="1"/>
            <c:bubble3D val="0"/>
            <c:spPr>
              <a:solidFill>
                <a:srgbClr val="7ECAC4"/>
              </a:solidFill>
            </c:spPr>
            <c:extLst>
              <c:ext xmlns:c16="http://schemas.microsoft.com/office/drawing/2014/chart" uri="{C3380CC4-5D6E-409C-BE32-E72D297353CC}">
                <c16:uniqueId val="{0000008D-B572-4DF2-A18B-EB5D630E70B4}"/>
              </c:ext>
            </c:extLst>
          </c:dPt>
          <c:dPt>
            <c:idx val="71"/>
            <c:invertIfNegative val="1"/>
            <c:bubble3D val="0"/>
            <c:spPr>
              <a:solidFill>
                <a:srgbClr val="7ECAC4"/>
              </a:solidFill>
            </c:spPr>
            <c:extLst>
              <c:ext xmlns:c16="http://schemas.microsoft.com/office/drawing/2014/chart" uri="{C3380CC4-5D6E-409C-BE32-E72D297353CC}">
                <c16:uniqueId val="{0000008F-B572-4DF2-A18B-EB5D630E70B4}"/>
              </c:ext>
            </c:extLst>
          </c:dPt>
          <c:dPt>
            <c:idx val="72"/>
            <c:invertIfNegative val="1"/>
            <c:bubble3D val="0"/>
            <c:spPr>
              <a:solidFill>
                <a:srgbClr val="7ECAC4"/>
              </a:solidFill>
            </c:spPr>
            <c:extLst>
              <c:ext xmlns:c16="http://schemas.microsoft.com/office/drawing/2014/chart" uri="{C3380CC4-5D6E-409C-BE32-E72D297353CC}">
                <c16:uniqueId val="{00000091-B572-4DF2-A18B-EB5D630E70B4}"/>
              </c:ext>
            </c:extLst>
          </c:dPt>
          <c:dPt>
            <c:idx val="73"/>
            <c:invertIfNegative val="1"/>
            <c:bubble3D val="0"/>
            <c:spPr>
              <a:solidFill>
                <a:srgbClr val="AEABAB"/>
              </a:solidFill>
            </c:spPr>
            <c:extLst>
              <c:ext xmlns:c16="http://schemas.microsoft.com/office/drawing/2014/chart" uri="{C3380CC4-5D6E-409C-BE32-E72D297353CC}">
                <c16:uniqueId val="{00000093-B572-4DF2-A18B-EB5D630E70B4}"/>
              </c:ext>
            </c:extLst>
          </c:dPt>
          <c:dPt>
            <c:idx val="74"/>
            <c:invertIfNegative val="1"/>
            <c:bubble3D val="0"/>
            <c:spPr>
              <a:solidFill>
                <a:srgbClr val="7ECAC4"/>
              </a:solidFill>
            </c:spPr>
            <c:extLst>
              <c:ext xmlns:c16="http://schemas.microsoft.com/office/drawing/2014/chart" uri="{C3380CC4-5D6E-409C-BE32-E72D297353CC}">
                <c16:uniqueId val="{00000095-B572-4DF2-A18B-EB5D630E70B4}"/>
              </c:ext>
            </c:extLst>
          </c:dPt>
          <c:dPt>
            <c:idx val="75"/>
            <c:invertIfNegative val="1"/>
            <c:bubble3D val="0"/>
            <c:spPr>
              <a:solidFill>
                <a:srgbClr val="7ECAC4"/>
              </a:solidFill>
            </c:spPr>
            <c:extLst>
              <c:ext xmlns:c16="http://schemas.microsoft.com/office/drawing/2014/chart" uri="{C3380CC4-5D6E-409C-BE32-E72D297353CC}">
                <c16:uniqueId val="{00000097-B572-4DF2-A18B-EB5D630E70B4}"/>
              </c:ext>
            </c:extLst>
          </c:dPt>
          <c:dPt>
            <c:idx val="76"/>
            <c:invertIfNegative val="1"/>
            <c:bubble3D val="0"/>
            <c:spPr>
              <a:solidFill>
                <a:srgbClr val="AEABAB"/>
              </a:solidFill>
            </c:spPr>
            <c:extLst>
              <c:ext xmlns:c16="http://schemas.microsoft.com/office/drawing/2014/chart" uri="{C3380CC4-5D6E-409C-BE32-E72D297353CC}">
                <c16:uniqueId val="{00000099-B572-4DF2-A18B-EB5D630E70B4}"/>
              </c:ext>
            </c:extLst>
          </c:dPt>
          <c:dPt>
            <c:idx val="77"/>
            <c:invertIfNegative val="1"/>
            <c:bubble3D val="0"/>
            <c:spPr>
              <a:solidFill>
                <a:srgbClr val="AEABAB"/>
              </a:solidFill>
            </c:spPr>
            <c:extLst>
              <c:ext xmlns:c16="http://schemas.microsoft.com/office/drawing/2014/chart" uri="{C3380CC4-5D6E-409C-BE32-E72D297353CC}">
                <c16:uniqueId val="{0000009B-B572-4DF2-A18B-EB5D630E70B4}"/>
              </c:ext>
            </c:extLst>
          </c:dPt>
          <c:dPt>
            <c:idx val="78"/>
            <c:invertIfNegative val="1"/>
            <c:bubble3D val="0"/>
            <c:spPr>
              <a:solidFill>
                <a:srgbClr val="AEABAB"/>
              </a:solidFill>
            </c:spPr>
            <c:extLst>
              <c:ext xmlns:c16="http://schemas.microsoft.com/office/drawing/2014/chart" uri="{C3380CC4-5D6E-409C-BE32-E72D297353CC}">
                <c16:uniqueId val="{0000009D-B572-4DF2-A18B-EB5D630E70B4}"/>
              </c:ext>
            </c:extLst>
          </c:dPt>
          <c:dPt>
            <c:idx val="79"/>
            <c:invertIfNegative val="1"/>
            <c:bubble3D val="0"/>
            <c:spPr>
              <a:solidFill>
                <a:srgbClr val="7ECAC4"/>
              </a:solidFill>
            </c:spPr>
            <c:extLst>
              <c:ext xmlns:c16="http://schemas.microsoft.com/office/drawing/2014/chart" uri="{C3380CC4-5D6E-409C-BE32-E72D297353CC}">
                <c16:uniqueId val="{0000009F-B572-4DF2-A18B-EB5D630E70B4}"/>
              </c:ext>
            </c:extLst>
          </c:dPt>
          <c:dPt>
            <c:idx val="80"/>
            <c:invertIfNegative val="1"/>
            <c:bubble3D val="0"/>
            <c:spPr>
              <a:solidFill>
                <a:srgbClr val="AEABAB"/>
              </a:solidFill>
            </c:spPr>
            <c:extLst>
              <c:ext xmlns:c16="http://schemas.microsoft.com/office/drawing/2014/chart" uri="{C3380CC4-5D6E-409C-BE32-E72D297353CC}">
                <c16:uniqueId val="{000000A1-B572-4DF2-A18B-EB5D630E70B4}"/>
              </c:ext>
            </c:extLst>
          </c:dPt>
          <c:dPt>
            <c:idx val="81"/>
            <c:invertIfNegative val="1"/>
            <c:bubble3D val="0"/>
            <c:spPr>
              <a:solidFill>
                <a:srgbClr val="AEABAB"/>
              </a:solidFill>
            </c:spPr>
            <c:extLst>
              <c:ext xmlns:c16="http://schemas.microsoft.com/office/drawing/2014/chart" uri="{C3380CC4-5D6E-409C-BE32-E72D297353CC}">
                <c16:uniqueId val="{000000A3-B572-4DF2-A18B-EB5D630E70B4}"/>
              </c:ext>
            </c:extLst>
          </c:dPt>
          <c:dPt>
            <c:idx val="82"/>
            <c:invertIfNegative val="1"/>
            <c:bubble3D val="0"/>
            <c:spPr>
              <a:solidFill>
                <a:srgbClr val="AEABAB"/>
              </a:solidFill>
            </c:spPr>
            <c:extLst>
              <c:ext xmlns:c16="http://schemas.microsoft.com/office/drawing/2014/chart" uri="{C3380CC4-5D6E-409C-BE32-E72D297353CC}">
                <c16:uniqueId val="{000000A5-B572-4DF2-A18B-EB5D630E70B4}"/>
              </c:ext>
            </c:extLst>
          </c:dPt>
          <c:dPt>
            <c:idx val="83"/>
            <c:invertIfNegative val="1"/>
            <c:bubble3D val="0"/>
            <c:spPr>
              <a:solidFill>
                <a:srgbClr val="AEABAB"/>
              </a:solidFill>
            </c:spPr>
            <c:extLst>
              <c:ext xmlns:c16="http://schemas.microsoft.com/office/drawing/2014/chart" uri="{C3380CC4-5D6E-409C-BE32-E72D297353CC}">
                <c16:uniqueId val="{000000A7-B572-4DF2-A18B-EB5D630E70B4}"/>
              </c:ext>
            </c:extLst>
          </c:dPt>
          <c:dPt>
            <c:idx val="84"/>
            <c:invertIfNegative val="1"/>
            <c:bubble3D val="0"/>
            <c:spPr>
              <a:solidFill>
                <a:srgbClr val="AEABAB"/>
              </a:solidFill>
            </c:spPr>
            <c:extLst>
              <c:ext xmlns:c16="http://schemas.microsoft.com/office/drawing/2014/chart" uri="{C3380CC4-5D6E-409C-BE32-E72D297353CC}">
                <c16:uniqueId val="{000000A9-B572-4DF2-A18B-EB5D630E70B4}"/>
              </c:ext>
            </c:extLst>
          </c:dPt>
          <c:dPt>
            <c:idx val="85"/>
            <c:invertIfNegative val="1"/>
            <c:bubble3D val="0"/>
            <c:spPr>
              <a:solidFill>
                <a:srgbClr val="AEABAB"/>
              </a:solidFill>
            </c:spPr>
            <c:extLst>
              <c:ext xmlns:c16="http://schemas.microsoft.com/office/drawing/2014/chart" uri="{C3380CC4-5D6E-409C-BE32-E72D297353CC}">
                <c16:uniqueId val="{000000AB-B572-4DF2-A18B-EB5D630E70B4}"/>
              </c:ext>
            </c:extLst>
          </c:dPt>
          <c:dPt>
            <c:idx val="86"/>
            <c:invertIfNegative val="1"/>
            <c:bubble3D val="0"/>
            <c:spPr>
              <a:solidFill>
                <a:srgbClr val="AEABAB"/>
              </a:solidFill>
            </c:spPr>
            <c:extLst>
              <c:ext xmlns:c16="http://schemas.microsoft.com/office/drawing/2014/chart" uri="{C3380CC4-5D6E-409C-BE32-E72D297353CC}">
                <c16:uniqueId val="{000000AD-B572-4DF2-A18B-EB5D630E70B4}"/>
              </c:ext>
            </c:extLst>
          </c:dPt>
          <c:dPt>
            <c:idx val="87"/>
            <c:invertIfNegative val="1"/>
            <c:bubble3D val="0"/>
            <c:spPr>
              <a:solidFill>
                <a:srgbClr val="AEABAB"/>
              </a:solidFill>
            </c:spPr>
            <c:extLst>
              <c:ext xmlns:c16="http://schemas.microsoft.com/office/drawing/2014/chart" uri="{C3380CC4-5D6E-409C-BE32-E72D297353CC}">
                <c16:uniqueId val="{000000AF-B572-4DF2-A18B-EB5D630E70B4}"/>
              </c:ext>
            </c:extLst>
          </c:dPt>
          <c:dPt>
            <c:idx val="88"/>
            <c:invertIfNegative val="1"/>
            <c:bubble3D val="0"/>
            <c:spPr>
              <a:solidFill>
                <a:srgbClr val="AEABAB"/>
              </a:solidFill>
            </c:spPr>
            <c:extLst>
              <c:ext xmlns:c16="http://schemas.microsoft.com/office/drawing/2014/chart" uri="{C3380CC4-5D6E-409C-BE32-E72D297353CC}">
                <c16:uniqueId val="{000000B1-B572-4DF2-A18B-EB5D630E70B4}"/>
              </c:ext>
            </c:extLst>
          </c:dPt>
          <c:dPt>
            <c:idx val="89"/>
            <c:invertIfNegative val="1"/>
            <c:bubble3D val="0"/>
            <c:spPr>
              <a:solidFill>
                <a:srgbClr val="AEABAB"/>
              </a:solidFill>
            </c:spPr>
            <c:extLst>
              <c:ext xmlns:c16="http://schemas.microsoft.com/office/drawing/2014/chart" uri="{C3380CC4-5D6E-409C-BE32-E72D297353CC}">
                <c16:uniqueId val="{000000B3-B572-4DF2-A18B-EB5D630E70B4}"/>
              </c:ext>
            </c:extLst>
          </c:dPt>
          <c:dLbls>
            <c:dLbl>
              <c:idx val="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0D8-4FF8-BF2D-A6DC7B178F5A}"/>
                </c:ext>
              </c:extLst>
            </c:dLbl>
            <c:dLbl>
              <c:idx val="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0D8-4FF8-BF2D-A6DC7B178F5A}"/>
                </c:ext>
              </c:extLst>
            </c:dLbl>
            <c:dLbl>
              <c:idx val="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0D8-4FF8-BF2D-A6DC7B178F5A}"/>
                </c:ext>
              </c:extLst>
            </c:dLbl>
            <c:dLbl>
              <c:idx val="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0D8-4FF8-BF2D-A6DC7B178F5A}"/>
                </c:ext>
              </c:extLst>
            </c:dLbl>
            <c:dLbl>
              <c:idx val="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0D8-4FF8-BF2D-A6DC7B178F5A}"/>
                </c:ext>
              </c:extLst>
            </c:dLbl>
            <c:dLbl>
              <c:idx val="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0D8-4FF8-BF2D-A6DC7B178F5A}"/>
                </c:ext>
              </c:extLst>
            </c:dLbl>
            <c:dLbl>
              <c:idx val="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0D8-4FF8-BF2D-A6DC7B178F5A}"/>
                </c:ext>
              </c:extLst>
            </c:dLbl>
            <c:dLbl>
              <c:idx val="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0D8-4FF8-BF2D-A6DC7B178F5A}"/>
                </c:ext>
              </c:extLst>
            </c:dLbl>
            <c:dLbl>
              <c:idx val="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A0D8-4FF8-BF2D-A6DC7B178F5A}"/>
                </c:ext>
              </c:extLst>
            </c:dLbl>
            <c:dLbl>
              <c:idx val="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0D8-4FF8-BF2D-A6DC7B178F5A}"/>
                </c:ext>
              </c:extLst>
            </c:dLbl>
            <c:dLbl>
              <c:idx val="1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0D8-4FF8-BF2D-A6DC7B178F5A}"/>
                </c:ext>
              </c:extLst>
            </c:dLbl>
            <c:dLbl>
              <c:idx val="1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0D8-4FF8-BF2D-A6DC7B178F5A}"/>
                </c:ext>
              </c:extLst>
            </c:dLbl>
            <c:dLbl>
              <c:idx val="1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0D8-4FF8-BF2D-A6DC7B178F5A}"/>
                </c:ext>
              </c:extLst>
            </c:dLbl>
            <c:dLbl>
              <c:idx val="1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0D8-4FF8-BF2D-A6DC7B178F5A}"/>
                </c:ext>
              </c:extLst>
            </c:dLbl>
            <c:dLbl>
              <c:idx val="1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0D8-4FF8-BF2D-A6DC7B178F5A}"/>
                </c:ext>
              </c:extLst>
            </c:dLbl>
            <c:dLbl>
              <c:idx val="1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0D8-4FF8-BF2D-A6DC7B178F5A}"/>
                </c:ext>
              </c:extLst>
            </c:dLbl>
            <c:dLbl>
              <c:idx val="1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0D8-4FF8-BF2D-A6DC7B178F5A}"/>
                </c:ext>
              </c:extLst>
            </c:dLbl>
            <c:dLbl>
              <c:idx val="1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0D8-4FF8-BF2D-A6DC7B178F5A}"/>
                </c:ext>
              </c:extLst>
            </c:dLbl>
            <c:dLbl>
              <c:idx val="1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0D8-4FF8-BF2D-A6DC7B178F5A}"/>
                </c:ext>
              </c:extLst>
            </c:dLbl>
            <c:dLbl>
              <c:idx val="1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A0D8-4FF8-BF2D-A6DC7B178F5A}"/>
                </c:ext>
              </c:extLst>
            </c:dLbl>
            <c:dLbl>
              <c:idx val="2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A0D8-4FF8-BF2D-A6DC7B178F5A}"/>
                </c:ext>
              </c:extLst>
            </c:dLbl>
            <c:dLbl>
              <c:idx val="2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0D8-4FF8-BF2D-A6DC7B178F5A}"/>
                </c:ext>
              </c:extLst>
            </c:dLbl>
            <c:dLbl>
              <c:idx val="2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0D8-4FF8-BF2D-A6DC7B178F5A}"/>
                </c:ext>
              </c:extLst>
            </c:dLbl>
            <c:dLbl>
              <c:idx val="2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A0D8-4FF8-BF2D-A6DC7B178F5A}"/>
                </c:ext>
              </c:extLst>
            </c:dLbl>
            <c:dLbl>
              <c:idx val="2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A0D8-4FF8-BF2D-A6DC7B178F5A}"/>
                </c:ext>
              </c:extLst>
            </c:dLbl>
            <c:dLbl>
              <c:idx val="2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A0D8-4FF8-BF2D-A6DC7B178F5A}"/>
                </c:ext>
              </c:extLst>
            </c:dLbl>
            <c:dLbl>
              <c:idx val="2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A0D8-4FF8-BF2D-A6DC7B178F5A}"/>
                </c:ext>
              </c:extLst>
            </c:dLbl>
            <c:dLbl>
              <c:idx val="2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A0D8-4FF8-BF2D-A6DC7B178F5A}"/>
                </c:ext>
              </c:extLst>
            </c:dLbl>
            <c:dLbl>
              <c:idx val="2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A0D8-4FF8-BF2D-A6DC7B178F5A}"/>
                </c:ext>
              </c:extLst>
            </c:dLbl>
            <c:dLbl>
              <c:idx val="2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A0D8-4FF8-BF2D-A6DC7B178F5A}"/>
                </c:ext>
              </c:extLst>
            </c:dLbl>
            <c:dLbl>
              <c:idx val="3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A0D8-4FF8-BF2D-A6DC7B178F5A}"/>
                </c:ext>
              </c:extLst>
            </c:dLbl>
            <c:dLbl>
              <c:idx val="3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A0D8-4FF8-BF2D-A6DC7B178F5A}"/>
                </c:ext>
              </c:extLst>
            </c:dLbl>
            <c:dLbl>
              <c:idx val="3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A0D8-4FF8-BF2D-A6DC7B178F5A}"/>
                </c:ext>
              </c:extLst>
            </c:dLbl>
            <c:dLbl>
              <c:idx val="3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A0D8-4FF8-BF2D-A6DC7B178F5A}"/>
                </c:ext>
              </c:extLst>
            </c:dLbl>
            <c:dLbl>
              <c:idx val="3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A0D8-4FF8-BF2D-A6DC7B178F5A}"/>
                </c:ext>
              </c:extLst>
            </c:dLbl>
            <c:dLbl>
              <c:idx val="3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A0D8-4FF8-BF2D-A6DC7B178F5A}"/>
                </c:ext>
              </c:extLst>
            </c:dLbl>
            <c:dLbl>
              <c:idx val="3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A0D8-4FF8-BF2D-A6DC7B178F5A}"/>
                </c:ext>
              </c:extLst>
            </c:dLbl>
            <c:dLbl>
              <c:idx val="3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A0D8-4FF8-BF2D-A6DC7B178F5A}"/>
                </c:ext>
              </c:extLst>
            </c:dLbl>
            <c:dLbl>
              <c:idx val="3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A0D8-4FF8-BF2D-A6DC7B178F5A}"/>
                </c:ext>
              </c:extLst>
            </c:dLbl>
            <c:dLbl>
              <c:idx val="3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A0D8-4FF8-BF2D-A6DC7B178F5A}"/>
                </c:ext>
              </c:extLst>
            </c:dLbl>
            <c:dLbl>
              <c:idx val="4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A0D8-4FF8-BF2D-A6DC7B178F5A}"/>
                </c:ext>
              </c:extLst>
            </c:dLbl>
            <c:dLbl>
              <c:idx val="4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A0D8-4FF8-BF2D-A6DC7B178F5A}"/>
                </c:ext>
              </c:extLst>
            </c:dLbl>
            <c:dLbl>
              <c:idx val="4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0D8-4FF8-BF2D-A6DC7B178F5A}"/>
                </c:ext>
              </c:extLst>
            </c:dLbl>
            <c:dLbl>
              <c:idx val="4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A0D8-4FF8-BF2D-A6DC7B178F5A}"/>
                </c:ext>
              </c:extLst>
            </c:dLbl>
            <c:dLbl>
              <c:idx val="4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A0D8-4FF8-BF2D-A6DC7B178F5A}"/>
                </c:ext>
              </c:extLst>
            </c:dLbl>
            <c:dLbl>
              <c:idx val="4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A0D8-4FF8-BF2D-A6DC7B178F5A}"/>
                </c:ext>
              </c:extLst>
            </c:dLbl>
            <c:dLbl>
              <c:idx val="4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2-A0D8-4FF8-BF2D-A6DC7B178F5A}"/>
                </c:ext>
              </c:extLst>
            </c:dLbl>
            <c:dLbl>
              <c:idx val="4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3-A0D8-4FF8-BF2D-A6DC7B178F5A}"/>
                </c:ext>
              </c:extLst>
            </c:dLbl>
            <c:dLbl>
              <c:idx val="4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4-A0D8-4FF8-BF2D-A6DC7B178F5A}"/>
                </c:ext>
              </c:extLst>
            </c:dLbl>
            <c:dLbl>
              <c:idx val="4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5-A0D8-4FF8-BF2D-A6DC7B178F5A}"/>
                </c:ext>
              </c:extLst>
            </c:dLbl>
            <c:dLbl>
              <c:idx val="5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6-A0D8-4FF8-BF2D-A6DC7B178F5A}"/>
                </c:ext>
              </c:extLst>
            </c:dLbl>
            <c:dLbl>
              <c:idx val="5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7-A0D8-4FF8-BF2D-A6DC7B178F5A}"/>
                </c:ext>
              </c:extLst>
            </c:dLbl>
            <c:dLbl>
              <c:idx val="5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8-A0D8-4FF8-BF2D-A6DC7B178F5A}"/>
                </c:ext>
              </c:extLst>
            </c:dLbl>
            <c:dLbl>
              <c:idx val="5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B-B572-4DF2-A18B-EB5D630E70B4}"/>
                </c:ext>
              </c:extLst>
            </c:dLbl>
            <c:dLbl>
              <c:idx val="5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D-B572-4DF2-A18B-EB5D630E70B4}"/>
                </c:ext>
              </c:extLst>
            </c:dLbl>
            <c:dLbl>
              <c:idx val="5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6F-B572-4DF2-A18B-EB5D630E70B4}"/>
                </c:ext>
              </c:extLst>
            </c:dLbl>
            <c:dLbl>
              <c:idx val="5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1-B572-4DF2-A18B-EB5D630E70B4}"/>
                </c:ext>
              </c:extLst>
            </c:dLbl>
            <c:dLbl>
              <c:idx val="57"/>
              <c:tx>
                <c:rich>
                  <a:bodyPr/>
                  <a:lstStyle/>
                  <a:p>
                    <a:r>
                      <a:rPr sz="500">
                        <a:solidFill>
                          <a:srgbClr val="006C6D"/>
                        </a:solidFill>
                      </a:rPr>
                      <a:t>Hawaiian Tropic Ozono Stick FPS50+ 42g</a:t>
                    </a:r>
                  </a:p>
                </c:rich>
              </c:tx>
              <c:showLegendKey val="0"/>
              <c:showVal val="1"/>
              <c:showCatName val="0"/>
              <c:showSerName val="0"/>
              <c:showPercent val="0"/>
              <c:showBubbleSize val="0"/>
            </c:dLbl>
            <c:dLbl>
              <c:idx val="5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5-B572-4DF2-A18B-EB5D630E70B4}"/>
                </c:ext>
              </c:extLst>
            </c:dLbl>
            <c:dLbl>
              <c:idx val="5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7-B572-4DF2-A18B-EB5D630E70B4}"/>
                </c:ext>
              </c:extLst>
            </c:dLbl>
            <c:dLbl>
              <c:idx val="6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9-B572-4DF2-A18B-EB5D630E70B4}"/>
                </c:ext>
              </c:extLst>
            </c:dLbl>
            <c:dLbl>
              <c:idx val="6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B-B572-4DF2-A18B-EB5D630E70B4}"/>
                </c:ext>
              </c:extLst>
            </c:dLbl>
            <c:dLbl>
              <c:idx val="6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D-B572-4DF2-A18B-EB5D630E70B4}"/>
                </c:ext>
              </c:extLst>
            </c:dLbl>
            <c:dLbl>
              <c:idx val="6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7F-B572-4DF2-A18B-EB5D630E70B4}"/>
                </c:ext>
              </c:extLst>
            </c:dLbl>
            <c:dLbl>
              <c:idx val="6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1-B572-4DF2-A18B-EB5D630E70B4}"/>
                </c:ext>
              </c:extLst>
            </c:dLbl>
            <c:dLbl>
              <c:idx val="6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3-B572-4DF2-A18B-EB5D630E70B4}"/>
                </c:ext>
              </c:extLst>
            </c:dLbl>
            <c:dLbl>
              <c:idx val="6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5-B572-4DF2-A18B-EB5D630E70B4}"/>
                </c:ext>
              </c:extLst>
            </c:dLbl>
            <c:dLbl>
              <c:idx val="6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7-B572-4DF2-A18B-EB5D630E70B4}"/>
                </c:ext>
              </c:extLst>
            </c:dLbl>
            <c:dLbl>
              <c:idx val="68"/>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9-B572-4DF2-A18B-EB5D630E70B4}"/>
                </c:ext>
              </c:extLst>
            </c:dLbl>
            <c:dLbl>
              <c:idx val="69"/>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B-B572-4DF2-A18B-EB5D630E70B4}"/>
                </c:ext>
              </c:extLst>
            </c:dLbl>
            <c:dLbl>
              <c:idx val="70"/>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D-B572-4DF2-A18B-EB5D630E70B4}"/>
                </c:ext>
              </c:extLst>
            </c:dLbl>
            <c:dLbl>
              <c:idx val="71"/>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8F-B572-4DF2-A18B-EB5D630E70B4}"/>
                </c:ext>
              </c:extLst>
            </c:dLbl>
            <c:dLbl>
              <c:idx val="72"/>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1-B572-4DF2-A18B-EB5D630E70B4}"/>
                </c:ext>
              </c:extLst>
            </c:dLbl>
            <c:dLbl>
              <c:idx val="73"/>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3-B572-4DF2-A18B-EB5D630E70B4}"/>
                </c:ext>
              </c:extLst>
            </c:dLbl>
            <c:dLbl>
              <c:idx val="74"/>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5-B572-4DF2-A18B-EB5D630E70B4}"/>
                </c:ext>
              </c:extLst>
            </c:dLbl>
            <c:dLbl>
              <c:idx val="75"/>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7-B572-4DF2-A18B-EB5D630E70B4}"/>
                </c:ext>
              </c:extLst>
            </c:dLbl>
            <c:dLbl>
              <c:idx val="76"/>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9-B572-4DF2-A18B-EB5D630E70B4}"/>
                </c:ext>
              </c:extLst>
            </c:dLbl>
            <c:dLbl>
              <c:idx val="77"/>
              <c:tx>
                <c:rich>
                  <a:bodyPr/>
                  <a:lstStyle/>
                  <a:p>
                    <a:endParaRPr lang="en-US"/>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B-B572-4DF2-A18B-EB5D630E70B4}"/>
                </c:ext>
              </c:extLst>
            </c:dLbl>
            <c:dLbl>
              <c:idx val="7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D-B572-4DF2-A18B-EB5D630E70B4}"/>
                </c:ext>
              </c:extLst>
            </c:dLbl>
            <c:dLbl>
              <c:idx val="7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9F-B572-4DF2-A18B-EB5D630E70B4}"/>
                </c:ext>
              </c:extLst>
            </c:dLbl>
            <c:dLbl>
              <c:idx val="80"/>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1-B572-4DF2-A18B-EB5D630E70B4}"/>
                </c:ext>
              </c:extLst>
            </c:dLbl>
            <c:dLbl>
              <c:idx val="81"/>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3-B572-4DF2-A18B-EB5D630E70B4}"/>
                </c:ext>
              </c:extLst>
            </c:dLbl>
            <c:dLbl>
              <c:idx val="82"/>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5-B572-4DF2-A18B-EB5D630E70B4}"/>
                </c:ext>
              </c:extLst>
            </c:dLbl>
            <c:dLbl>
              <c:idx val="83"/>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7-B572-4DF2-A18B-EB5D630E70B4}"/>
                </c:ext>
              </c:extLst>
            </c:dLbl>
            <c:dLbl>
              <c:idx val="84"/>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9-B572-4DF2-A18B-EB5D630E70B4}"/>
                </c:ext>
              </c:extLst>
            </c:dLbl>
            <c:dLbl>
              <c:idx val="85"/>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B-B572-4DF2-A18B-EB5D630E70B4}"/>
                </c:ext>
              </c:extLst>
            </c:dLbl>
            <c:dLbl>
              <c:idx val="86"/>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D-B572-4DF2-A18B-EB5D630E70B4}"/>
                </c:ext>
              </c:extLst>
            </c:dLbl>
            <c:dLbl>
              <c:idx val="87"/>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AF-B572-4DF2-A18B-EB5D630E70B4}"/>
                </c:ext>
              </c:extLst>
            </c:dLbl>
            <c:dLbl>
              <c:idx val="88"/>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1-B572-4DF2-A18B-EB5D630E70B4}"/>
                </c:ext>
              </c:extLst>
            </c:dLbl>
            <c:dLbl>
              <c:idx val="89"/>
              <c:tx>
                <c:rich>
                  <a:bodyPr/>
                  <a:lstStyle/>
                  <a:p>
                    <a:endParaRP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B3-B572-4DF2-A18B-EB5D630E70B4}"/>
                </c:ext>
              </c:extLst>
            </c:dLbl>
            <c:spPr>
              <a:noFill/>
              <a:ln>
                <a:noFill/>
              </a:ln>
              <a:effectLst/>
            </c:spPr>
            <c:txPr>
              <a:bodyPr rot="-5400000"/>
              <a:lstStyle/>
              <a:p>
                <a:pPr>
                  <a:defRPr sz="800">
                    <a:latin typeface="Nexa Book" panose="00000400000000000000" pitchFamily="2" charset="0"/>
                  </a:defRPr>
                </a:pPr>
                <a:endParaRPr lang="en-CH"/>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2</c:f>
              <c:strCache>
                <c:ptCount val="81"/>
                <c:pt idx="0">
                  <c:v>Nivea Sun Protection &amp; Hydration Cream FPS50+ 200ml</c:v>
                </c:pt>
                <c:pt idx="1">
                  <c:v>Nivea Sun Protect &amp; Refresh Sport Lotion FPS50 200ml</c:v>
                </c:pt>
                <c:pt idx="2">
                  <c:v>Nivea Sun Protection Sensitive Skin Gel FPS50+ 200ml</c:v>
                </c:pt>
                <c:pt idx="3">
                  <c:v>Nivea Sun Protection &amp; Hydration Lotion FPS50+ 125ml</c:v>
                </c:pt>
                <c:pt idx="4">
                  <c:v>Hawaiian Tropic Sheer Touch Lotion FPS50+ 240ml</c:v>
                </c:pt>
                <c:pt idx="5">
                  <c:v>Hawaiian Tropic Ozono Lotion FPS50+ 240ml</c:v>
                </c:pt>
                <c:pt idx="6">
                  <c:v>Hawaiian Tropic Island Sport Lotion FPS50 240ml</c:v>
                </c:pt>
                <c:pt idx="7">
                  <c:v>Banana Boat Aqua Protect Sport Lotion FPS50+ 236ml</c:v>
                </c:pt>
                <c:pt idx="8">
                  <c:v>Banana Boat Advanced Protection Lotion FPS50+ 240ml</c:v>
                </c:pt>
                <c:pt idx="9">
                  <c:v>Banana Boat Aqua Protect Cream FPS50+ 236ml</c:v>
                </c:pt>
                <c:pt idx="10">
                  <c:v>Nivea Sun Babies &amp; Kids Lotion FPS50+ 200ml</c:v>
                </c:pt>
                <c:pt idx="11">
                  <c:v>Nivea Sun Protect &amp; Refresh Sport Spray FPS50 200ml</c:v>
                </c:pt>
                <c:pt idx="12">
                  <c:v>Equate Sport Lotion FPS30 237ml</c:v>
                </c:pt>
                <c:pt idx="13">
                  <c:v>Banana Boat Aqua Protect Kids Cream FPS50+ 236ml</c:v>
                </c:pt>
                <c:pt idx="14">
                  <c:v>Hawaiian Tropic Sheer Touch Lotion FPS30 240ml</c:v>
                </c:pt>
                <c:pt idx="15">
                  <c:v>Equate Ultra Spray FPS50 156g</c:v>
                </c:pt>
                <c:pt idx="16">
                  <c:v>Nivea Sun Protect &amp; Refresh Sport Invisible Spray FPS50 200ml</c:v>
                </c:pt>
                <c:pt idx="17">
                  <c:v>Nivea Sun Face Shine Control FPS50+ 50ml</c:v>
                </c:pt>
                <c:pt idx="18">
                  <c:v>Nivea Sun Kids Swim &amp; Play Gel FPS50+ 150ml</c:v>
                </c:pt>
                <c:pt idx="19">
                  <c:v>Neutrogena Sun Fresh Cream FPS50 200ml</c:v>
                </c:pt>
                <c:pt idx="20">
                  <c:v>Hawaiian Tropic Sheer Touch Lotion FPS50 120ml</c:v>
                </c:pt>
                <c:pt idx="21">
                  <c:v>Equate Kids Lotion FPS50 237ml</c:v>
                </c:pt>
                <c:pt idx="22">
                  <c:v>Caribbean Beach Sport Cream FPS50+ 250g</c:v>
                </c:pt>
                <c:pt idx="23">
                  <c:v>Banana Boat Dry Balance Sport Spray FPS50 170ml</c:v>
                </c:pt>
                <c:pt idx="24">
                  <c:v>Caribbean Beach Ultra Cream FPS50+ 250g</c:v>
                </c:pt>
                <c:pt idx="25">
                  <c:v>La Roche Posay Anthelios Uvmune 400 Fluid FPS50+ 50ml</c:v>
                </c:pt>
                <c:pt idx="26">
                  <c:v>Nivea Sun Face Sensitive Skin FPS50 50ml</c:v>
                </c:pt>
                <c:pt idx="27">
                  <c:v>Eucerin Gel-Cream FPS50+ 50ml</c:v>
                </c:pt>
                <c:pt idx="28">
                  <c:v>Neutrogena Sun Fresh Cream FPS50 120ml</c:v>
                </c:pt>
                <c:pt idx="29">
                  <c:v>Caribbean Beach Advanced Protection Cream FPS50+ 150g</c:v>
                </c:pt>
                <c:pt idx="30">
                  <c:v>Nivea Sun Kids Protect &amp; Sensitive Spray FPS50+ 200ml</c:v>
                </c:pt>
                <c:pt idx="31">
                  <c:v>Nivea Sun Face Stain Control FPS50+ 40ml</c:v>
                </c:pt>
                <c:pt idx="32">
                  <c:v>Caribbean Beach Sport Cream FPS50+ 150g</c:v>
                </c:pt>
                <c:pt idx="33">
                  <c:v>Hawaiian Tropic Silk Hydration Lotion FPS50 180ml</c:v>
                </c:pt>
                <c:pt idx="34">
                  <c:v>Garnier Super UV Serum FPS50+ 40ml</c:v>
                </c:pt>
                <c:pt idx="35">
                  <c:v>Caribbean Beach Kids Cream FPS50+ 250g</c:v>
                </c:pt>
                <c:pt idx="36">
                  <c:v>Hawaiian Tropic Ozono Lotion FPS50+ 120ml</c:v>
                </c:pt>
                <c:pt idx="37">
                  <c:v>L'Oréal Paris UV DEFENDER Colored Fluid FPS50+ 40g</c:v>
                </c:pt>
                <c:pt idx="38">
                  <c:v>Isdin Fotoprotector Fusion Water FPS50+ 50ml</c:v>
                </c:pt>
                <c:pt idx="39">
                  <c:v>Garnier Super UV Cream FPS50+ 40g</c:v>
                </c:pt>
                <c:pt idx="40">
                  <c:v>Nivea Sun Face Fluid Invisible FPS50+ 40ml</c:v>
                </c:pt>
                <c:pt idx="41">
                  <c:v>Nuvel Suncare Mineral FPS50 120ml</c:v>
                </c:pt>
                <c:pt idx="42">
                  <c:v>Nuvel Suncare Ultra Protection FPS50 120ml</c:v>
                </c:pt>
                <c:pt idx="43">
                  <c:v>La Roche Posay Anthelios XL Gel-Cream FPS50+ 50ml</c:v>
                </c:pt>
                <c:pt idx="44">
                  <c:v>Equate Sport Spray FPS30 156g</c:v>
                </c:pt>
                <c:pt idx="45">
                  <c:v>Banana Boat Aqua Protect Spray FPS50+ 170g</c:v>
                </c:pt>
                <c:pt idx="46">
                  <c:v>Banana Boat Kids Sport Lotion FPS50 180ml</c:v>
                </c:pt>
                <c:pt idx="47">
                  <c:v>Isdin Fotoprotector Fusion Water Magic Light FPS50+ 50ml</c:v>
                </c:pt>
                <c:pt idx="48">
                  <c:v>Equate Kids Stick FPS50 42g</c:v>
                </c:pt>
                <c:pt idx="49">
                  <c:v>Hawaiian Tropic Ozono Duo Defense Lotion FPS50+ 180ml</c:v>
                </c:pt>
                <c:pt idx="50">
                  <c:v>Hawaiian Tropic Ozono Spray FPS50+ 180ml</c:v>
                </c:pt>
                <c:pt idx="51">
                  <c:v>Hawaiian Tropic Island Sport Spray FPS50 220ml</c:v>
                </c:pt>
                <c:pt idx="52">
                  <c:v>Banana Boat Aqua Protect Sport Spray FPS50+ 170g</c:v>
                </c:pt>
                <c:pt idx="53">
                  <c:v>Banana Boat Dry Balance Sport Lotion FPS50+ 180ml</c:v>
                </c:pt>
                <c:pt idx="54">
                  <c:v>Nuvel Suncare Kids Protection FPS50 120ml</c:v>
                </c:pt>
                <c:pt idx="55">
                  <c:v>Isdin Fotoprotector Face and Body Gel-Cream FPS50+ 250ml</c:v>
                </c:pt>
                <c:pt idx="56">
                  <c:v>Caribbean Beach Vitamin E Face Cream FPS50+ 85ml</c:v>
                </c:pt>
                <c:pt idx="57">
                  <c:v>Hawaiian Tropic Ozono Stick FPS50+ 42g</c:v>
                </c:pt>
                <c:pt idx="58">
                  <c:v>Banana Boat Kids Sport Spray FPS50 170g</c:v>
                </c:pt>
                <c:pt idx="59">
                  <c:v>Nuvel Suncare 2 in 1 FPS50 120ml</c:v>
                </c:pt>
                <c:pt idx="60">
                  <c:v>Caribbean Beach Cuidado Face Cream FPS50+ 85ml</c:v>
                </c:pt>
                <c:pt idx="61">
                  <c:v>Caribbean Beach Kids Cream FPS50+ 150g</c:v>
                </c:pt>
                <c:pt idx="62">
                  <c:v>Banana Boat Mineral Sensitive Lotion FPS50 180ml</c:v>
                </c:pt>
                <c:pt idx="63">
                  <c:v>Hawaiian Tropic Argan Spray FPS15 220ml</c:v>
                </c:pt>
                <c:pt idx="64">
                  <c:v>Banana Boat Mineral Kids Lotion FPS50 180ml</c:v>
                </c:pt>
                <c:pt idx="65">
                  <c:v>Banana Boat Aqua Protect Kids Spray FPS50+ 170g</c:v>
                </c:pt>
                <c:pt idx="66">
                  <c:v>Avene Emulsion Ultra-Mat Fluid FPS50+ 50ml</c:v>
                </c:pt>
                <c:pt idx="67">
                  <c:v>Avène Emulsion Mat Perfect Cream FPS50+ 50ml</c:v>
                </c:pt>
                <c:pt idx="68">
                  <c:v>Beautycare Sensitive Face Lotion FPS50+ 50ml</c:v>
                </c:pt>
                <c:pt idx="69">
                  <c:v>Neutrogena Mineral Ultra Sheer Stick FPS50 42g</c:v>
                </c:pt>
                <c:pt idx="70">
                  <c:v>Banana Boat Advanced Protection Face Fluid FPS50+ 50ml</c:v>
                </c:pt>
                <c:pt idx="71">
                  <c:v>Banana Boat Advanced Protection Sport Roll-on FPS50+ 75ml</c:v>
                </c:pt>
                <c:pt idx="72">
                  <c:v>Beautycare Antioxidant Face Lotion FPS50+ 50ml</c:v>
                </c:pt>
                <c:pt idx="73">
                  <c:v>Vaseline Sunscreen Stick FPS50+ 15g</c:v>
                </c:pt>
                <c:pt idx="74">
                  <c:v>Banana Boat Kids Sport Roll-on FPS50+ 75ml</c:v>
                </c:pt>
                <c:pt idx="75">
                  <c:v>Hawaiian Tropic Mineral Brush FPS30 4.25g</c:v>
                </c:pt>
                <c:pt idx="76">
                  <c:v>Vaseline Tone-up Cream FPS50+ 50ml</c:v>
                </c:pt>
                <c:pt idx="77">
                  <c:v>Vaseline Daily Use FPS50+ 50ml</c:v>
                </c:pt>
                <c:pt idx="78">
                  <c:v>Ocean Potion Spray FPS30 156g</c:v>
                </c:pt>
                <c:pt idx="79">
                  <c:v>Beautycare Matte Face Lotion FPS30 50ml</c:v>
                </c:pt>
                <c:pt idx="80">
                  <c:v>Australian Gold Extreme Sport Spray FPS50 170g</c:v>
                </c:pt>
              </c:strCache>
            </c:strRef>
          </c:cat>
          <c:val>
            <c:numRef>
              <c:f>Sheet1!$B$2:$B$82</c:f>
              <c:numCache>
                <c:formatCode>General</c:formatCode>
                <c:ptCount val="81"/>
                <c:pt idx="0">
                  <c:v>0.09443574311254747</c:v>
                </c:pt>
                <c:pt idx="1">
                  <c:v>0.05766375397139135</c:v>
                </c:pt>
                <c:pt idx="2">
                  <c:v>0.050987262491549806</c:v>
                </c:pt>
                <c:pt idx="3">
                  <c:v>0.04523256908980682</c:v>
                </c:pt>
                <c:pt idx="4">
                  <c:v>0.04340027503061014</c:v>
                </c:pt>
                <c:pt idx="5">
                  <c:v>0.04335562307609686</c:v>
                </c:pt>
                <c:pt idx="6">
                  <c:v>0.03553730530134732</c:v>
                </c:pt>
                <c:pt idx="7">
                  <c:v>0.031132829702145898</c:v>
                </c:pt>
                <c:pt idx="8">
                  <c:v>0.027921191041084106</c:v>
                </c:pt>
                <c:pt idx="9">
                  <c:v>0.02718596755405136</c:v>
                </c:pt>
                <c:pt idx="10">
                  <c:v>0.022648468318646666</c:v>
                </c:pt>
                <c:pt idx="11">
                  <c:v>0.022599151113001762</c:v>
                </c:pt>
                <c:pt idx="12">
                  <c:v>0.020280584793730037</c:v>
                </c:pt>
                <c:pt idx="13">
                  <c:v>0.019412037877721087</c:v>
                </c:pt>
                <c:pt idx="14">
                  <c:v>0.01726285367992477</c:v>
                </c:pt>
                <c:pt idx="15">
                  <c:v>0.017230354485753795</c:v>
                </c:pt>
                <c:pt idx="16">
                  <c:v>0.017105281610523087</c:v>
                </c:pt>
                <c:pt idx="17">
                  <c:v>0.015240150141600463</c:v>
                </c:pt>
                <c:pt idx="18">
                  <c:v>0.01478541551379676</c:v>
                </c:pt>
                <c:pt idx="19">
                  <c:v>0.014549733486302474</c:v>
                </c:pt>
                <c:pt idx="20">
                  <c:v>0.013995550985549526</c:v>
                </c:pt>
                <c:pt idx="21">
                  <c:v>0.013404845070628831</c:v>
                </c:pt>
                <c:pt idx="22">
                  <c:v>0.012422506418097704</c:v>
                </c:pt>
                <c:pt idx="23">
                  <c:v>0.0121865944338711</c:v>
                </c:pt>
                <c:pt idx="24">
                  <c:v>0.011977770113531443</c:v>
                </c:pt>
                <c:pt idx="25">
                  <c:v>0.011971719750642687</c:v>
                </c:pt>
                <c:pt idx="26">
                  <c:v>0.01172508919937964</c:v>
                </c:pt>
                <c:pt idx="27">
                  <c:v>0.010817393018723866</c:v>
                </c:pt>
                <c:pt idx="28">
                  <c:v>0.010510706049858074</c:v>
                </c:pt>
                <c:pt idx="29">
                  <c:v>0.010311817878258649</c:v>
                </c:pt>
                <c:pt idx="30">
                  <c:v>0.009876231076021948</c:v>
                </c:pt>
                <c:pt idx="31">
                  <c:v>0.009838907479926867</c:v>
                </c:pt>
                <c:pt idx="32">
                  <c:v>0.009704954984072148</c:v>
                </c:pt>
                <c:pt idx="33">
                  <c:v>0.009541463716446505</c:v>
                </c:pt>
                <c:pt idx="34">
                  <c:v>0.009247063826619002</c:v>
                </c:pt>
                <c:pt idx="35">
                  <c:v>0.009235216351840264</c:v>
                </c:pt>
                <c:pt idx="36">
                  <c:v>0.009214312391794528</c:v>
                </c:pt>
                <c:pt idx="37">
                  <c:v>0.009205296001812038</c:v>
                </c:pt>
                <c:pt idx="38">
                  <c:v>0.007531834824965197</c:v>
                </c:pt>
                <c:pt idx="39">
                  <c:v>0.007176060528999727</c:v>
                </c:pt>
                <c:pt idx="40">
                  <c:v>0.0069874612098451885</c:v>
                </c:pt>
                <c:pt idx="41">
                  <c:v>0.006917906283231365</c:v>
                </c:pt>
                <c:pt idx="42">
                  <c:v>0.006832926728279486</c:v>
                </c:pt>
                <c:pt idx="43">
                  <c:v>0.006637906702625002</c:v>
                </c:pt>
                <c:pt idx="44">
                  <c:v>0.0065542690541285425</c:v>
                </c:pt>
                <c:pt idx="45">
                  <c:v>0.006491868424286258</c:v>
                </c:pt>
                <c:pt idx="46">
                  <c:v>0.006126733108628045</c:v>
                </c:pt>
                <c:pt idx="47">
                  <c:v>0.006026299780683331</c:v>
                </c:pt>
                <c:pt idx="48">
                  <c:v>0.005546132133420621</c:v>
                </c:pt>
                <c:pt idx="49">
                  <c:v>0.005242488519469421</c:v>
                </c:pt>
                <c:pt idx="50">
                  <c:v>0.005183289949334818</c:v>
                </c:pt>
                <c:pt idx="51">
                  <c:v>0.005005288966675278</c:v>
                </c:pt>
                <c:pt idx="52">
                  <c:v>0.004829902799206414</c:v>
                </c:pt>
                <c:pt idx="53">
                  <c:v>0.004806765380304943</c:v>
                </c:pt>
                <c:pt idx="54">
                  <c:v>0.00470520552912098</c:v>
                </c:pt>
                <c:pt idx="55">
                  <c:v>0.004567594233372394</c:v>
                </c:pt>
                <c:pt idx="56">
                  <c:v>0.004515994769506908</c:v>
                </c:pt>
                <c:pt idx="57">
                  <c:v>0.004339896190593496</c:v>
                </c:pt>
                <c:pt idx="58">
                  <c:v>0.004160678195974006</c:v>
                </c:pt>
                <c:pt idx="59">
                  <c:v>0.00409552052558864</c:v>
                </c:pt>
                <c:pt idx="60">
                  <c:v>0.003920806218134819</c:v>
                </c:pt>
                <c:pt idx="61">
                  <c:v>0.003781813257706141</c:v>
                </c:pt>
                <c:pt idx="62">
                  <c:v>0.003636234332173049</c:v>
                </c:pt>
                <c:pt idx="63">
                  <c:v>0.003439871201114488</c:v>
                </c:pt>
                <c:pt idx="64">
                  <c:v>0.0030842826155816935</c:v>
                </c:pt>
                <c:pt idx="65">
                  <c:v>0.0030491692851203904</c:v>
                </c:pt>
                <c:pt idx="66">
                  <c:v>0.0027837930597970793</c:v>
                </c:pt>
                <c:pt idx="67">
                  <c:v>0.002679467565648589</c:v>
                </c:pt>
                <c:pt idx="68">
                  <c:v>0.001852064627108625</c:v>
                </c:pt>
                <c:pt idx="69">
                  <c:v>0.0016383628252864184</c:v>
                </c:pt>
                <c:pt idx="70">
                  <c:v>0.0016259220398413634</c:v>
                </c:pt>
                <c:pt idx="71">
                  <c:v>0.0015066873702193186</c:v>
                </c:pt>
                <c:pt idx="72">
                  <c:v>0.0014681261039431904</c:v>
                </c:pt>
                <c:pt idx="73">
                  <c:v>0.0012869872078651973</c:v>
                </c:pt>
                <c:pt idx="74">
                  <c:v>0.0012260120052348241</c:v>
                </c:pt>
                <c:pt idx="75">
                  <c:v>0.0011514009118963604</c:v>
                </c:pt>
                <c:pt idx="76">
                  <c:v>0.0011140231231571316</c:v>
                </c:pt>
                <c:pt idx="77">
                  <c:v>0.0010756007187657946</c:v>
                </c:pt>
                <c:pt idx="78">
                  <c:v>0.0009157619658416703</c:v>
                </c:pt>
                <c:pt idx="79">
                  <c:v>0.0007090010504848543</c:v>
                </c:pt>
                <c:pt idx="80">
                  <c:v>0.0006185985381323033</c:v>
                </c:pt>
              </c:numCache>
            </c:numRef>
          </c:val>
          <c:extLst>
            <c:ext xmlns:c16="http://schemas.microsoft.com/office/drawing/2014/chart" uri="{C3380CC4-5D6E-409C-BE32-E72D297353CC}">
              <c16:uniqueId val="{0000003F-A0D8-4FF8-BF2D-A6DC7B178F5A}"/>
            </c:ext>
          </c:extLst>
        </c:ser>
        <c:dLbls>
          <c:dLblPos val="outEnd"/>
          <c:showLegendKey val="0"/>
          <c:showVal val="1"/>
          <c:showCatName val="0"/>
          <c:showSerName val="0"/>
          <c:showPercent val="0"/>
          <c:showBubbleSize val="0"/>
        </c:dLbls>
        <c:gapWidth val="51"/>
        <c:overlap val="-27"/>
        <c:axId val="1060403695"/>
        <c:axId val="1060393711"/>
      </c:barChart>
      <c:catAx>
        <c:axId val="1060403695"/>
        <c:scaling>
          <c:orientation val="minMax"/>
        </c:scaling>
        <c:delete val="1"/>
        <c:axPos val="b"/>
        <c:numFmt formatCode="General" sourceLinked="1"/>
        <c:majorTickMark val="out"/>
        <c:minorTickMark val="none"/>
        <c:tickLblPos val="nextTo"/>
        <c:crossAx val="1060393711"/>
        <c:crosses val="autoZero"/>
        <c:auto val="1"/>
        <c:lblAlgn val="ctr"/>
        <c:lblOffset val="100"/>
        <c:noMultiLvlLbl val="0"/>
      </c:catAx>
      <c:valAx>
        <c:axId val="1060393711"/>
        <c:scaling>
          <c:orientation val="minMax"/>
        </c:scaling>
        <c:delete val="1"/>
        <c:axPos val="l"/>
        <c:numFmt formatCode="General" sourceLinked="1"/>
        <c:majorTickMark val="out"/>
        <c:minorTickMark val="none"/>
        <c:tickLblPos val="nextTo"/>
        <c:crossAx val="106040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31574-19AE-4EFF-8E5D-910302784672}" type="datetimeFigureOut">
              <a:rPr lang="en-CH" smtClean="0"/>
              <a:t>07/31/2025</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E13843-85DD-499F-B752-681F6384D798}" type="slidenum">
              <a:rPr lang="en-CH" smtClean="0"/>
              <a:t>‹#›</a:t>
            </a:fld>
            <a:endParaRPr lang="en-CH"/>
          </a:p>
        </p:txBody>
      </p:sp>
    </p:spTree>
    <p:extLst>
      <p:ext uri="{BB962C8B-B14F-4D97-AF65-F5344CB8AC3E}">
        <p14:creationId xmlns:p14="http://schemas.microsoft.com/office/powerpoint/2010/main" val="3716441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7C660-B953-A643-D8A5-4DDED04F40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ED4B77-D814-E342-B3AB-2EDB08E813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45E580-EC80-B3F8-95FE-949DF7438095}"/>
              </a:ext>
            </a:extLst>
          </p:cNvPr>
          <p:cNvSpPr>
            <a:spLocks noGrp="1"/>
          </p:cNvSpPr>
          <p:nvPr>
            <p:ph type="body" idx="1"/>
          </p:nvPr>
        </p:nvSpPr>
        <p:spPr/>
        <p:txBody>
          <a:bodyPr/>
          <a:lstStyle/>
          <a:p>
            <a:endParaRPr lang="en-AE"/>
          </a:p>
        </p:txBody>
      </p:sp>
      <p:sp>
        <p:nvSpPr>
          <p:cNvPr id="4" name="Slide Number Placeholder 3">
            <a:extLst>
              <a:ext uri="{FF2B5EF4-FFF2-40B4-BE49-F238E27FC236}">
                <a16:creationId xmlns:a16="http://schemas.microsoft.com/office/drawing/2014/main" id="{A853D0AE-6ED5-1717-B660-76FF4144724D}"/>
              </a:ext>
            </a:extLst>
          </p:cNvPr>
          <p:cNvSpPr>
            <a:spLocks noGrp="1"/>
          </p:cNvSpPr>
          <p:nvPr>
            <p:ph type="sldNum" sz="quarter" idx="5"/>
          </p:nvPr>
        </p:nvSpPr>
        <p:spPr/>
        <p:txBody>
          <a:bodyPr/>
          <a:lstStyle/>
          <a:p>
            <a:fld id="{4CEE16E6-1DE9-413F-AA9F-05985E570417}" type="slidenum">
              <a:rPr lang="en-US" smtClean="0"/>
              <a:t>1</a:t>
            </a:fld>
            <a:endParaRPr lang="en-US"/>
          </a:p>
        </p:txBody>
      </p:sp>
    </p:spTree>
    <p:extLst>
      <p:ext uri="{BB962C8B-B14F-4D97-AF65-F5344CB8AC3E}">
        <p14:creationId xmlns:p14="http://schemas.microsoft.com/office/powerpoint/2010/main" val="261402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dirty="0"/>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1295125709"/>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1110852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7442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5450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1DD4075-0929-457D-A799-576A43438BA2}"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3443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13007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77976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0937019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CD7B18-7D75-4E45-9E57-B98FAE8D3080}" type="datetime1">
              <a:rPr lang="en-US" smtClean="0"/>
              <a:t>7/3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7094348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F7F175-3676-4F2E-8335-0DA3DCA9F548}" type="datetime1">
              <a:rPr lang="en-US" smtClean="0"/>
              <a:t>7/3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3380101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798493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445628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2725938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348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BB4FBCEC-0432-4BBA-82CE-63BEF708474E}" type="datetimeFigureOut">
              <a:rPr lang="en-AE" smtClean="0"/>
              <a:t>31/07/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16652119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0415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46587C87-8FDD-4605-B89F-5662D8826220}" type="datetime1">
              <a:rPr lang="en-US" smtClean="0"/>
              <a:t>7/3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dirty="0"/>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647673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9BF31F0E-667C-40DC-9AB9-748B8A18706F}" type="datetime1">
              <a:rPr lang="en-US" smtClean="0"/>
              <a:t>7/3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161993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1205657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801604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1784698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681203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93B7D14C-106C-4A28-A54C-ABFAFE88CFF0}" type="datetime1">
              <a:rPr lang="en-US" smtClean="0"/>
              <a:t>7/3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2362037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3B7D14C-106C-4A28-A54C-ABFAFE88CFF0}" type="datetime1">
              <a:rPr lang="en-US" smtClean="0"/>
              <a:t>7/3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4265349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dirty="0"/>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72BADB5F-A74F-484B-8756-F35CE7D72E3A}" type="datetime1">
              <a:rPr lang="en-US" smtClean="0"/>
              <a:t>7/31/2025</a:t>
            </a:fld>
            <a:endParaRPr lang="en-US"/>
          </a:p>
        </p:txBody>
      </p:sp>
    </p:spTree>
    <p:extLst>
      <p:ext uri="{BB962C8B-B14F-4D97-AF65-F5344CB8AC3E}">
        <p14:creationId xmlns:p14="http://schemas.microsoft.com/office/powerpoint/2010/main" val="3895789664"/>
      </p:ext>
    </p:extLst>
  </p:cSld>
  <p:clrMap bg1="lt1" tx1="dk1" bg2="lt2" tx2="dk2" accent1="accent1" accent2="accent2" accent3="accent3" accent4="accent4" accent5="accent5" accent6="accent6" hlink="hlink" folHlink="folHlink"/>
  <p:sldLayoutIdLst>
    <p:sldLayoutId id="2147483845"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904" r:id="rId23"/>
    <p:sldLayoutId id="214748390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9.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0.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1.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2.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3.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4.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5.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7.xml"/><Relationship Id="rId6" Type="http://schemas.openxmlformats.org/officeDocument/2006/relationships/chart" Target="../charts/chart28.xml"/><Relationship Id="rId7" Type="http://schemas.openxmlformats.org/officeDocument/2006/relationships/chart" Target="../charts/chart29.xml"/><Relationship Id="rId8" Type="http://schemas.openxmlformats.org/officeDocument/2006/relationships/chart" Target="../charts/chart30.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1.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2.xml"/><Relationship Id="rId6" Type="http://schemas.openxmlformats.org/officeDocument/2006/relationships/chart" Target="../charts/chart33.xml"/><Relationship Id="rId7" Type="http://schemas.openxmlformats.org/officeDocument/2006/relationships/chart" Target="../charts/chart34.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5.xml"/><Relationship Id="rId6" Type="http://schemas.openxmlformats.org/officeDocument/2006/relationships/chart" Target="../charts/chart36.xml"/><Relationship Id="rId7" Type="http://schemas.openxmlformats.org/officeDocument/2006/relationships/chart" Target="../charts/chart37.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8.xml"/><Relationship Id="rId6" Type="http://schemas.openxmlformats.org/officeDocument/2006/relationships/chart" Target="../charts/chart39.xml"/><Relationship Id="rId7" Type="http://schemas.openxmlformats.org/officeDocument/2006/relationships/chart" Target="../charts/chart40.xml"/><Relationship Id="rId8" Type="http://schemas.openxmlformats.org/officeDocument/2006/relationships/chart" Target="../charts/chart41.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2.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3.xml"/><Relationship Id="rId6" Type="http://schemas.openxmlformats.org/officeDocument/2006/relationships/chart" Target="../charts/chart4.xml"/><Relationship Id="rId7" Type="http://schemas.openxmlformats.org/officeDocument/2006/relationships/chart" Target="../charts/chart5.xml"/><Relationship Id="rId8" Type="http://schemas.openxmlformats.org/officeDocument/2006/relationships/chart" Target="../charts/chart6.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8.xml"/><Relationship Id="rId6" Type="http://schemas.openxmlformats.org/officeDocument/2006/relationships/chart" Target="../charts/chart9.xml"/><Relationship Id="rId7" Type="http://schemas.openxmlformats.org/officeDocument/2006/relationships/chart" Target="../charts/chart10.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1.xml"/><Relationship Id="rId6" Type="http://schemas.openxmlformats.org/officeDocument/2006/relationships/chart" Target="../charts/chart12.xml"/><Relationship Id="rId7" Type="http://schemas.openxmlformats.org/officeDocument/2006/relationships/chart" Target="../charts/chart13.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4.xml"/><Relationship Id="rId6" Type="http://schemas.openxmlformats.org/officeDocument/2006/relationships/chart" Target="../charts/chart15.xml"/><Relationship Id="rId7" Type="http://schemas.openxmlformats.org/officeDocument/2006/relationships/chart" Target="../charts/chart16.xml"/><Relationship Id="rId8" Type="http://schemas.openxmlformats.org/officeDocument/2006/relationships/chart" Target="../charts/chart17.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oleObject" Target="../embeddings/oleObject28.bin"/><Relationship Id="rId4" Type="http://schemas.openxmlformats.org/officeDocument/2006/relationships/image" Target="../media/image28.emf"/><Relationship Id="rId5"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8E536-12EE-22BA-0DC3-0B7111A586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7012292-6DFB-FDE7-2139-0817FB501A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8" name="think-cell data - do not delete" hidden="1">
                        <a:extLst>
                          <a:ext uri="{FF2B5EF4-FFF2-40B4-BE49-F238E27FC236}">
                            <a16:creationId xmlns:a16="http://schemas.microsoft.com/office/drawing/2014/main" id="{67012292-6DFB-FDE7-2139-0817FB501A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F56CF36A-48E6-1952-2F59-761DD0388D07}"/>
              </a:ext>
            </a:extLst>
          </p:cNvPr>
          <p:cNvSpPr>
            <a:spLocks noGrp="1"/>
          </p:cNvSpPr>
          <p:nvPr>
            <p:ph type="body" sz="quarter" idx="18"/>
          </p:nvPr>
        </p:nvSpPr>
        <p:spPr/>
        <p:txBody>
          <a:bodyPr/>
          <a:lstStyle/>
          <a:p>
            <a:r>
              <a:rPr lang="en-GB" dirty="0"/>
              <a:t>Summary </a:t>
            </a:r>
            <a:r>
              <a:rPr lang="en-US" dirty="0"/>
              <a:t>| </a:t>
            </a:r>
            <a:r>
              <a:rPr lang="en-GB" dirty="0"/>
              <a:t>Innovations </a:t>
            </a:r>
          </a:p>
        </p:txBody>
      </p:sp>
      <p:sp>
        <p:nvSpPr>
          <p:cNvPr id="2" name="Title 1">
            <a:extLst>
              <a:ext uri="{FF2B5EF4-FFF2-40B4-BE49-F238E27FC236}">
                <a16:creationId xmlns:a16="http://schemas.microsoft.com/office/drawing/2014/main" id="{AD3E672B-BBB2-F4F9-E356-C5102EB37A28}"/>
              </a:ext>
            </a:extLst>
          </p:cNvPr>
          <p:cNvSpPr>
            <a:spLocks noGrp="1"/>
          </p:cNvSpPr>
          <p:nvPr>
            <p:ph type="title"/>
          </p:nvPr>
        </p:nvSpPr>
        <p:spPr>
          <a:noFill/>
        </p:spPr>
        <p:txBody>
          <a:bodyPr vert="horz"/>
          <a:lstStyle/>
          <a:p>
            <a:r>
              <a:rPr lang="en-US" dirty="0">
                <a:highlight>
                  <a:srgbClr val="FFFF00"/>
                </a:highlight>
              </a:rPr>
              <a:t>Innovation summary </a:t>
            </a:r>
            <a:r>
              <a:rPr lang="en-US" dirty="0">
                <a:solidFill>
                  <a:schemeClr val="bg2">
                    <a:lumMod val="90000"/>
                  </a:schemeClr>
                </a:solidFill>
                <a:highlight>
                  <a:srgbClr val="FFFF00"/>
                </a:highlight>
              </a:rPr>
              <a:t>(Replace with SO WHAT)</a:t>
            </a:r>
            <a:endParaRPr lang="en-GB" dirty="0"/>
          </a:p>
        </p:txBody>
      </p:sp>
      <p:sp>
        <p:nvSpPr>
          <p:cNvPr id="16" name="Date Placeholder 15">
            <a:extLst>
              <a:ext uri="{FF2B5EF4-FFF2-40B4-BE49-F238E27FC236}">
                <a16:creationId xmlns:a16="http://schemas.microsoft.com/office/drawing/2014/main" id="{6EDD18B9-EB53-696B-E024-1C10AB921583}"/>
              </a:ext>
            </a:extLst>
          </p:cNvPr>
          <p:cNvSpPr>
            <a:spLocks noGrp="1"/>
          </p:cNvSpPr>
          <p:nvPr>
            <p:ph type="dt" sz="half" idx="2"/>
          </p:nvPr>
        </p:nvSpPr>
        <p:spPr>
          <a:xfrm>
            <a:off x="8016240" y="4972050"/>
            <a:ext cx="623760" cy="171450"/>
          </a:xfrm>
          <a:prstGeom prst="rect">
            <a:avLst/>
          </a:prstGeom>
        </p:spPr>
        <p:txBody>
          <a:bodyPr vert="horz" lIns="91440" tIns="45720" rIns="91440" bIns="45720" rtlCol="0" anchor="ctr"/>
          <a:lstStyle>
            <a:defPPr>
              <a:defRPr lang="en-US"/>
            </a:defPPr>
            <a:lvl1pPr marL="0" algn="r" defTabSz="514350" rtl="0" eaLnBrk="1" latinLnBrk="0" hangingPunct="1">
              <a:defRPr sz="500" b="0" i="0" kern="1200">
                <a:solidFill>
                  <a:schemeClr val="bg2">
                    <a:lumMod val="50000"/>
                  </a:schemeClr>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C0FA42E2-9B5A-4ACA-ABA8-8405190AD1D0}" type="datetime1">
              <a:rPr lang="en-US" smtClean="0"/>
              <a:pPr/>
              <a:t>7/31/2025</a:t>
            </a:fld>
            <a:endParaRPr lang="en-US"/>
          </a:p>
        </p:txBody>
      </p:sp>
      <p:sp>
        <p:nvSpPr>
          <p:cNvPr id="19" name="Slide Number Placeholder 18">
            <a:extLst>
              <a:ext uri="{FF2B5EF4-FFF2-40B4-BE49-F238E27FC236}">
                <a16:creationId xmlns:a16="http://schemas.microsoft.com/office/drawing/2014/main" id="{8454A435-0F0D-CCD5-8A7A-9AA8D4B7987C}"/>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defPPr>
              <a:defRPr lang="en-US"/>
            </a:defPPr>
            <a:lvl1pPr marL="0" algn="l" defTabSz="514350" rtl="0" eaLnBrk="1" latinLnBrk="0" hangingPunct="1">
              <a:defRPr sz="500" b="0" i="0" kern="1200">
                <a:solidFill>
                  <a:schemeClr val="tx2"/>
                </a:solidFill>
                <a:latin typeface="Nexa Book" panose="00000400000000000000" pitchFamily="50" charset="0"/>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fld id="{7B1F438D-4EAF-094E-9162-80CF3EF77236}" type="slidenum">
              <a:rPr lang="en-US" smtClean="0"/>
              <a:pPr/>
              <a:t>1</a:t>
            </a:fld>
            <a:endParaRPr lang="en-US"/>
          </a:p>
        </p:txBody>
      </p:sp>
      <p:graphicFrame>
        <p:nvGraphicFramePr>
          <p:cNvPr id="7" name="Table 6">
            <a:extLst>
              <a:ext uri="{FF2B5EF4-FFF2-40B4-BE49-F238E27FC236}">
                <a16:creationId xmlns:a16="http://schemas.microsoft.com/office/drawing/2014/main" id="{A962547C-121F-07F9-0CDE-072B83230B46}"/>
              </a:ext>
            </a:extLst>
          </p:cNvPr>
          <p:cNvGraphicFramePr>
            <a:graphicFrameLocks noGrp="1"/>
          </p:cNvGraphicFramePr>
          <p:nvPr/>
        </p:nvGraphicFramePr>
        <p:xfrm>
          <a:off x="503238" y="1049315"/>
          <a:ext cx="8243580" cy="3683431"/>
        </p:xfrm>
        <a:graphic>
          <a:graphicData uri="http://schemas.openxmlformats.org/drawingml/2006/table">
            <a:tbl>
              <a:tblPr/>
              <a:tblGrid>
                <a:gridCol w="1371600">
                  <a:extLst>
                    <a:ext uri="{9D8B030D-6E8A-4147-A177-3AD203B41FA5}">
                      <a16:colId xmlns:a16="http://schemas.microsoft.com/office/drawing/2014/main" val="4124992523"/>
                    </a:ext>
                  </a:extLst>
                </a:gridCol>
                <a:gridCol w="548072">
                  <a:extLst>
                    <a:ext uri="{9D8B030D-6E8A-4147-A177-3AD203B41FA5}">
                      <a16:colId xmlns:a16="http://schemas.microsoft.com/office/drawing/2014/main" val="1465243297"/>
                    </a:ext>
                  </a:extLst>
                </a:gridCol>
                <a:gridCol w="548072">
                  <a:extLst>
                    <a:ext uri="{9D8B030D-6E8A-4147-A177-3AD203B41FA5}">
                      <a16:colId xmlns:a16="http://schemas.microsoft.com/office/drawing/2014/main" val="1901062976"/>
                    </a:ext>
                  </a:extLst>
                </a:gridCol>
                <a:gridCol w="548072">
                  <a:extLst>
                    <a:ext uri="{9D8B030D-6E8A-4147-A177-3AD203B41FA5}">
                      <a16:colId xmlns:a16="http://schemas.microsoft.com/office/drawing/2014/main" val="3888016173"/>
                    </a:ext>
                  </a:extLst>
                </a:gridCol>
                <a:gridCol w="548072">
                  <a:extLst>
                    <a:ext uri="{9D8B030D-6E8A-4147-A177-3AD203B41FA5}">
                      <a16:colId xmlns:a16="http://schemas.microsoft.com/office/drawing/2014/main" val="280274442"/>
                    </a:ext>
                  </a:extLst>
                </a:gridCol>
                <a:gridCol w="548072">
                  <a:extLst>
                    <a:ext uri="{9D8B030D-6E8A-4147-A177-3AD203B41FA5}">
                      <a16:colId xmlns:a16="http://schemas.microsoft.com/office/drawing/2014/main" val="3949766954"/>
                    </a:ext>
                  </a:extLst>
                </a:gridCol>
                <a:gridCol w="548072">
                  <a:extLst>
                    <a:ext uri="{9D8B030D-6E8A-4147-A177-3AD203B41FA5}">
                      <a16:colId xmlns:a16="http://schemas.microsoft.com/office/drawing/2014/main" val="3752645013"/>
                    </a:ext>
                  </a:extLst>
                </a:gridCol>
                <a:gridCol w="548072">
                  <a:extLst>
                    <a:ext uri="{9D8B030D-6E8A-4147-A177-3AD203B41FA5}">
                      <a16:colId xmlns:a16="http://schemas.microsoft.com/office/drawing/2014/main" val="869531029"/>
                    </a:ext>
                  </a:extLst>
                </a:gridCol>
                <a:gridCol w="548072">
                  <a:extLst>
                    <a:ext uri="{9D8B030D-6E8A-4147-A177-3AD203B41FA5}">
                      <a16:colId xmlns:a16="http://schemas.microsoft.com/office/drawing/2014/main" val="75545106"/>
                    </a:ext>
                  </a:extLst>
                </a:gridCol>
                <a:gridCol w="548072">
                  <a:extLst>
                    <a:ext uri="{9D8B030D-6E8A-4147-A177-3AD203B41FA5}">
                      <a16:colId xmlns:a16="http://schemas.microsoft.com/office/drawing/2014/main" val="2757435256"/>
                    </a:ext>
                  </a:extLst>
                </a:gridCol>
                <a:gridCol w="548072">
                  <a:extLst>
                    <a:ext uri="{9D8B030D-6E8A-4147-A177-3AD203B41FA5}">
                      <a16:colId xmlns:a16="http://schemas.microsoft.com/office/drawing/2014/main" val="987174286"/>
                    </a:ext>
                  </a:extLst>
                </a:gridCol>
                <a:gridCol w="548072">
                  <a:extLst>
                    <a:ext uri="{9D8B030D-6E8A-4147-A177-3AD203B41FA5}">
                      <a16:colId xmlns:a16="http://schemas.microsoft.com/office/drawing/2014/main" val="1650378717"/>
                    </a:ext>
                  </a:extLst>
                </a:gridCol>
                <a:gridCol w="843188">
                  <a:extLst>
                    <a:ext uri="{9D8B030D-6E8A-4147-A177-3AD203B41FA5}">
                      <a16:colId xmlns:a16="http://schemas.microsoft.com/office/drawing/2014/main" val="2165611555"/>
                    </a:ext>
                  </a:extLst>
                </a:gridCol>
              </a:tblGrid>
              <a:tr h="198873">
                <a:tc>
                  <a:txBody>
                    <a:bodyPr/>
                    <a:lstStyle/>
                    <a:p>
                      <a:pPr algn="ctr" rtl="0" fontAlgn="ct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Pric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Size</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Launch WD</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Share ranking</a:t>
                      </a:r>
                      <a:endParaRPr lang="en-US" sz="800" b="1"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Cannib. %</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Vol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a:solidFill>
                            <a:srgbClr val="575555"/>
                          </a:solidFill>
                          <a:effectLst/>
                          <a:latin typeface="Nexa" panose="00000500000000000000" pitchFamily="2" charset="0"/>
                        </a:rPr>
                        <a:t>Unit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NS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P Ix</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G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T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tc>
                  <a:txBody>
                    <a:bodyPr/>
                    <a:lstStyle/>
                    <a:p>
                      <a:pPr algn="ctr" rtl="0" fontAlgn="ctr"/>
                      <a:r>
                        <a:rPr lang="en-US" sz="800" b="1" i="0" u="none" strike="noStrike" dirty="0">
                          <a:solidFill>
                            <a:srgbClr val="575555"/>
                          </a:solidFill>
                          <a:effectLst/>
                          <a:latin typeface="Nexa" panose="00000500000000000000" pitchFamily="2" charset="0"/>
                        </a:rPr>
                        <a:t>Priority</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1779806599"/>
                  </a:ext>
                </a:extLst>
              </a:tr>
              <a:tr h="204974">
                <a:tc>
                  <a:txBody>
                    <a:bodyPr/>
                    <a:lstStyle/>
                    <a:p>
                      <a:pPr algn="ctr">
                        <a:defRPr sz="800">
                          <a:latin typeface="Nexa Book"/>
                        </a:defRPr>
                      </a:pPr>
                      <a:r>
                        <a:rPr sz="700"/>
                        <a:t>Hawaiian Tropic Ozono Lotion FPS50+ 3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518355255"/>
                  </a:ext>
                </a:extLst>
              </a:tr>
              <a:tr h="204974">
                <a:tc>
                  <a:txBody>
                    <a:bodyPr/>
                    <a:lstStyle/>
                    <a:p>
                      <a:pPr algn="ctr">
                        <a:defRPr sz="800">
                          <a:latin typeface="Nexa Book"/>
                        </a:defRPr>
                      </a:pPr>
                      <a:r>
                        <a:rPr sz="700"/>
                        <a:t>Hawaiian Tropic Ozono Stick FPS50+ 42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8</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800" b="0" i="0" u="none" strike="noStrike">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80804219"/>
                  </a:ext>
                </a:extLst>
              </a:tr>
              <a:tr h="204974">
                <a:tc>
                  <a:txBody>
                    <a:bodyPr/>
                    <a:lstStyle/>
                    <a:p>
                      <a:pPr algn="ctr">
                        <a:defRPr sz="800">
                          <a:latin typeface="Nexa Book"/>
                        </a:defRPr>
                      </a:pPr>
                      <a:r>
                        <a:rPr sz="700"/>
                        <a:t>Hawaiian Tropic Ozono Ultra-Light FPS50+ 1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37201486"/>
                  </a:ext>
                </a:extLst>
              </a:tr>
              <a:tr h="204974">
                <a:tc>
                  <a:txBody>
                    <a:bodyPr/>
                    <a:lstStyle/>
                    <a:p>
                      <a:pPr algn="ctr">
                        <a:defRPr sz="800">
                          <a:latin typeface="Nexa Book"/>
                        </a:defRPr>
                      </a:pPr>
                      <a:r>
                        <a:rPr sz="700"/>
                        <a:t>Hawaiian Tropic Silk Hydration Serum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7%</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12512338"/>
                  </a:ext>
                </a:extLst>
              </a:tr>
              <a:tr h="204974">
                <a:tc>
                  <a:txBody>
                    <a:bodyPr/>
                    <a:lstStyle/>
                    <a:p>
                      <a:pPr algn="ctr">
                        <a:defRPr sz="800">
                          <a:latin typeface="Nexa Book"/>
                        </a:defRPr>
                      </a:pPr>
                      <a:r>
                        <a:rPr sz="700"/>
                        <a:t>Hawaiian Tropic Silk Hydration Lip balm FPS3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4163788907"/>
                  </a:ext>
                </a:extLst>
              </a:tr>
              <a:tr h="204974">
                <a:tc>
                  <a:txBody>
                    <a:bodyPr/>
                    <a:lstStyle/>
                    <a:p>
                      <a:pPr algn="ctr">
                        <a:defRPr sz="800">
                          <a:latin typeface="Nexa Book"/>
                        </a:defRPr>
                      </a:pPr>
                      <a:r>
                        <a:rPr sz="700"/>
                        <a:t>Hawaiian Tropic Silk Hydration Glow Mist FPS50+ 1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890673108"/>
                  </a:ext>
                </a:extLst>
              </a:tr>
              <a:tr h="204974">
                <a:tc>
                  <a:txBody>
                    <a:bodyPr/>
                    <a:lstStyle/>
                    <a:p>
                      <a:pPr algn="ctr">
                        <a:defRPr sz="800">
                          <a:latin typeface="Nexa Book"/>
                        </a:defRPr>
                      </a:pPr>
                      <a:r>
                        <a:rPr sz="700"/>
                        <a:t>Beautycare Glow Stick FPS50 2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3</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4</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823684"/>
                  </a:ext>
                </a:extLst>
              </a:tr>
              <a:tr h="204974">
                <a:tc>
                  <a:txBody>
                    <a:bodyPr/>
                    <a:lstStyle/>
                    <a:p>
                      <a:pPr algn="ctr">
                        <a:defRPr sz="800">
                          <a:latin typeface="Nexa Book"/>
                        </a:defRPr>
                      </a:pPr>
                      <a:r>
                        <a:rPr sz="700"/>
                        <a:t>Beautycare Glow Serum FPS50 3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107710378"/>
                  </a:ext>
                </a:extLst>
              </a:tr>
              <a:tr h="204974">
                <a:tc>
                  <a:txBody>
                    <a:bodyPr/>
                    <a:lstStyle/>
                    <a:p>
                      <a:pPr algn="ctr">
                        <a:defRPr sz="800">
                          <a:latin typeface="Nexa Book"/>
                        </a:defRPr>
                      </a:pPr>
                      <a:r>
                        <a:rPr sz="700"/>
                        <a:t>Beautycare Pro Age Color Face Fluid FPS50+ 5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334728107"/>
                  </a:ext>
                </a:extLst>
              </a:tr>
              <a:tr h="204974">
                <a:tc>
                  <a:txBody>
                    <a:bodyPr/>
                    <a:lstStyle/>
                    <a:p>
                      <a:pPr algn="ctr">
                        <a:defRPr sz="800">
                          <a:latin typeface="Nexa Book"/>
                        </a:defRPr>
                      </a:pPr>
                      <a:r>
                        <a:rPr sz="700"/>
                        <a:t>Beautycare Glow Lip Oil FPS50+ 1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1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5481585"/>
                  </a:ext>
                </a:extLst>
              </a:tr>
              <a:tr h="204974">
                <a:tc>
                  <a:txBody>
                    <a:bodyPr/>
                    <a:lstStyle/>
                    <a:p>
                      <a:pPr algn="ctr">
                        <a:defRPr sz="800">
                          <a:latin typeface="Nexa Book"/>
                        </a:defRPr>
                      </a:pPr>
                      <a:r>
                        <a:rPr sz="700"/>
                        <a:t>Banana Boat Aqua Protect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299373958"/>
                  </a:ext>
                </a:extLst>
              </a:tr>
              <a:tr h="204974">
                <a:tc>
                  <a:txBody>
                    <a:bodyPr/>
                    <a:lstStyle/>
                    <a:p>
                      <a:pPr algn="ctr">
                        <a:defRPr sz="800">
                          <a:latin typeface="Nexa Book"/>
                        </a:defRPr>
                      </a:pPr>
                      <a:r>
                        <a:rPr sz="700"/>
                        <a:t>Banana Boat Advanced Protection Lotion FPS50+ 36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22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213094206"/>
                  </a:ext>
                </a:extLst>
              </a:tr>
              <a:tr h="204974">
                <a:tc>
                  <a:txBody>
                    <a:bodyPr/>
                    <a:lstStyle/>
                    <a:p>
                      <a:pPr algn="ctr">
                        <a:defRPr sz="800">
                          <a:latin typeface="Nexa Book"/>
                        </a:defRPr>
                      </a:pPr>
                      <a:r>
                        <a:rPr sz="700"/>
                        <a:t>Banana Boat Dry Balance Sport Stick FPS50+ 40g</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7.4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8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3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507879087"/>
                  </a:ext>
                </a:extLst>
              </a:tr>
              <a:tr h="204974">
                <a:tc>
                  <a:txBody>
                    <a:bodyPr/>
                    <a:lstStyle/>
                    <a:p>
                      <a:pPr algn="ctr">
                        <a:defRPr sz="800">
                          <a:latin typeface="Nexa Book"/>
                        </a:defRPr>
                      </a:pPr>
                      <a:r>
                        <a:rPr sz="700"/>
                        <a:t>Banana Boat Kids Sport Spray FPS50+ 24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a:solidFill>
                            <a:srgbClr val="575555"/>
                          </a:solidFill>
                          <a:effectLst/>
                          <a:latin typeface="Nexa" panose="00000500000000000000" pitchFamily="2" charset="0"/>
                        </a:rPr>
                        <a:t>19.99 zł</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20m+16szt</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442300527"/>
                  </a:ext>
                </a:extLst>
              </a:tr>
              <a:tr h="204974">
                <a:tc>
                  <a:txBody>
                    <a:bodyPr/>
                    <a:lstStyle/>
                    <a:p>
                      <a:pPr algn="ctr">
                        <a:defRPr sz="800">
                          <a:latin typeface="Nexa Book"/>
                        </a:defRPr>
                      </a:pPr>
                      <a:r>
                        <a:rPr sz="700"/>
                        <a:t>Banana Boat Dry Balance Sport Aerosol FPS50+ 200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9.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90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6%</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698211098"/>
                  </a:ext>
                </a:extLst>
              </a:tr>
              <a:tr h="204974">
                <a:tc>
                  <a:txBody>
                    <a:bodyPr/>
                    <a:lstStyle/>
                    <a:p>
                      <a:pPr algn="ctr">
                        <a:defRPr sz="800">
                          <a:latin typeface="Nexa Book"/>
                        </a:defRPr>
                      </a:pPr>
                      <a:r>
                        <a:rPr sz="700"/>
                        <a:t>Banana Boat Sport Lotion FPS50+ 354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6m</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52%</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91476743"/>
                  </a:ext>
                </a:extLst>
              </a:tr>
              <a:tr h="204974">
                <a:tc>
                  <a:txBody>
                    <a:bodyPr/>
                    <a:lstStyle/>
                    <a:p>
                      <a:pPr algn="ctr">
                        <a:defRPr sz="800">
                          <a:latin typeface="Nexa Book"/>
                        </a:defRPr>
                      </a:pPr>
                      <a:r>
                        <a:rPr sz="700"/>
                        <a:t>Banana Boat Baby Lotion FPS50+ 177ml</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7.49 </a:t>
                      </a:r>
                      <a:r>
                        <a:rPr lang="en-US" sz="700" b="0" i="0" u="none" strike="noStrike" dirty="0" err="1">
                          <a:solidFill>
                            <a:srgbClr val="575555"/>
                          </a:solidFill>
                          <a:effectLst/>
                          <a:latin typeface="Nexa" panose="00000500000000000000" pitchFamily="2" charset="0"/>
                        </a:rPr>
                        <a:t>zł</a:t>
                      </a:r>
                      <a:endParaRPr lang="en-US"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r>
                        <a:rPr lang="en-US" sz="700" b="0" i="0" u="none" strike="noStrike" dirty="0">
                          <a:solidFill>
                            <a:srgbClr val="575555"/>
                          </a:solidFill>
                          <a:effectLst/>
                          <a:latin typeface="Nexa" panose="00000500000000000000" pitchFamily="2" charset="0"/>
                        </a:rPr>
                        <a:t>1x14pcs</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fontAlgn="ctr"/>
                      <a:endParaRPr lang="en-CH" sz="7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algn="ctr">
                        <a:defRPr sz="800">
                          <a:latin typeface="Nexa Book"/>
                        </a:defRPr>
                      </a:pPr>
                      <a:r>
                        <a:t>41%</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lumMod val="20000"/>
                        <a:lumOff val="80000"/>
                      </a:schemeClr>
                    </a:solidFill>
                  </a:tcPr>
                </a:tc>
                <a:tc>
                  <a:txBody>
                    <a:bodyPr/>
                    <a:lstStyle/>
                    <a:p>
                      <a:pPr algn="ctr">
                        <a:defRPr sz="800">
                          <a:latin typeface="Nexa Book"/>
                        </a:defRPr>
                      </a:pPr>
                      <a:r>
                        <a:t>99</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10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35%</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a:defRPr sz="800">
                          <a:latin typeface="Nexa Book"/>
                        </a:defRPr>
                      </a:pPr>
                      <a:r>
                        <a:t>40%</a:t>
                      </a: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ctr" rtl="0" fontAlgn="ctr"/>
                      <a:endParaRPr lang="en-US" sz="800" b="0" i="0" u="none" strike="noStrike" dirty="0">
                        <a:solidFill>
                          <a:srgbClr val="575555"/>
                        </a:solidFill>
                        <a:effectLst/>
                        <a:latin typeface="Nexa" panose="00000500000000000000" pitchFamily="2" charset="0"/>
                      </a:endParaRPr>
                    </a:p>
                  </a:txBody>
                  <a:tcPr marL="2125" marR="2125" marT="2125"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872227597"/>
                  </a:ext>
                </a:extLst>
              </a:tr>
            </a:tbl>
          </a:graphicData>
        </a:graphic>
      </p:graphicFrame>
      <p:sp>
        <p:nvSpPr>
          <p:cNvPr id="3" name="Content Placeholder 9">
            <a:extLst>
              <a:ext uri="{FF2B5EF4-FFF2-40B4-BE49-F238E27FC236}">
                <a16:creationId xmlns:a16="http://schemas.microsoft.com/office/drawing/2014/main" id="{3FE511A2-8A76-2FB1-730D-81950B088311}"/>
              </a:ext>
            </a:extLst>
          </p:cNvPr>
          <p:cNvSpPr>
            <a:spLocks noGrp="1"/>
          </p:cNvSpPr>
          <p:nvPr>
            <p:ph type="body" sz="quarter" idx="17"/>
          </p:nvPr>
        </p:nvSpPr>
        <p:spPr>
          <a:xfrm>
            <a:off x="0" y="4734106"/>
            <a:ext cx="4572000" cy="222878"/>
          </a:xfrm>
        </p:spPr>
        <p:txBody>
          <a:bodyPr/>
          <a:lstStyle/>
          <a:p>
            <a:r>
              <a:t>DATA SOURCE: Consumer Test | June 2025</a:t>
            </a:r>
          </a:p>
        </p:txBody>
      </p:sp>
    </p:spTree>
    <p:extLst>
      <p:ext uri="{BB962C8B-B14F-4D97-AF65-F5344CB8AC3E}">
        <p14:creationId xmlns:p14="http://schemas.microsoft.com/office/powerpoint/2010/main" val="950426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0</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aby</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527785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1</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Beautycare</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4%</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1.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9.3</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5.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184096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2</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Kids</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760317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3</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Ozono</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6%</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0%</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1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8.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335456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4</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ilk Hydra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2338226">
                  <a:extLst>
                    <a:ext uri="{9D8B030D-6E8A-4147-A177-3AD203B41FA5}">
                      <a16:colId xmlns:a16="http://schemas.microsoft.com/office/drawing/2014/main" val="4292788590"/>
                    </a:ext>
                  </a:extLst>
                </a:gridCol>
                <a:gridCol w="2338226">
                  <a:extLst>
                    <a:ext uri="{9D8B030D-6E8A-4147-A177-3AD203B41FA5}">
                      <a16:colId xmlns:a16="http://schemas.microsoft.com/office/drawing/2014/main" val="401539003"/>
                    </a:ext>
                  </a:extLst>
                </a:gridCol>
                <a:gridCol w="2338226">
                  <a:extLst>
                    <a:ext uri="{9D8B030D-6E8A-4147-A177-3AD203B41FA5}">
                      <a16:colId xmlns:a16="http://schemas.microsoft.com/office/drawing/2014/main" val="138763722"/>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8%</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7</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6.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4.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2</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1610149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5</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Sport</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7"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1753670">
                  <a:extLst>
                    <a:ext uri="{9D8B030D-6E8A-4147-A177-3AD203B41FA5}">
                      <a16:colId xmlns:a16="http://schemas.microsoft.com/office/drawing/2014/main" val="4292788590"/>
                    </a:ext>
                  </a:extLst>
                </a:gridCol>
                <a:gridCol w="1753670">
                  <a:extLst>
                    <a:ext uri="{9D8B030D-6E8A-4147-A177-3AD203B41FA5}">
                      <a16:colId xmlns:a16="http://schemas.microsoft.com/office/drawing/2014/main" val="401539003"/>
                    </a:ext>
                  </a:extLst>
                </a:gridCol>
                <a:gridCol w="1753670">
                  <a:extLst>
                    <a:ext uri="{9D8B030D-6E8A-4147-A177-3AD203B41FA5}">
                      <a16:colId xmlns:a16="http://schemas.microsoft.com/office/drawing/2014/main" val="138763722"/>
                    </a:ext>
                  </a:extLst>
                </a:gridCol>
                <a:gridCol w="1753670">
                  <a:extLst>
                    <a:ext uri="{9D8B030D-6E8A-4147-A177-3AD203B41FA5}">
                      <a16:colId xmlns:a16="http://schemas.microsoft.com/office/drawing/2014/main" val="2633844746"/>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39%</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47%</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2%</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6</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2.0</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5</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1</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197749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6</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Advanced Protec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dvanced Protection Lotion FPS50+ 36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Hawaiian Tropic Island Sport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Hawaiian Tropic Sheer Touch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80661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7</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aby</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Baby Lotion FPS50+ 177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693386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8</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Beautycare</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tick FPS50 2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Serum FPS50 3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Pro Age Color Face Fluid FPS50+ 5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eautycare Glow Lip Oil FPS5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Nivea Sun Kids Swim &amp; Play Gel FPS50+ 1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Face Shine Control FPS50+ 5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38832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19</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Kids</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984785875"/>
              </p:ext>
            </p:extLst>
          </p:nvPr>
        </p:nvGraphicFramePr>
        <p:xfrm>
          <a:off x="516973" y="1131888"/>
          <a:ext cx="4815292" cy="3602219"/>
        </p:xfrm>
        <a:graphic>
          <a:graphicData uri="http://schemas.openxmlformats.org/drawingml/2006/table">
            <a:tbl>
              <a:tblPr firstRow="1" bandRow="1">
                <a:tableStyleId>{5C22544A-7EE6-4342-B048-85BDC9FD1C3A}</a:tableStyleId>
              </a:tblPr>
              <a:tblGrid>
                <a:gridCol w="2598378">
                  <a:extLst>
                    <a:ext uri="{9D8B030D-6E8A-4147-A177-3AD203B41FA5}">
                      <a16:colId xmlns:a16="http://schemas.microsoft.com/office/drawing/2014/main" val="721526330"/>
                    </a:ext>
                  </a:extLst>
                </a:gridCol>
                <a:gridCol w="2216914">
                  <a:extLst>
                    <a:ext uri="{9D8B030D-6E8A-4147-A177-3AD203B41FA5}">
                      <a16:colId xmlns:a16="http://schemas.microsoft.com/office/drawing/2014/main" val="1048155142"/>
                    </a:ext>
                  </a:extLst>
                </a:gridCol>
              </a:tblGrid>
              <a:tr h="357747">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Kids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94952">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94952">
                <a:tc>
                  <a:txBody>
                    <a:bodyPr/>
                    <a:lstStyle/>
                    <a:p>
                      <a:pPr algn="l">
                        <a:defRPr>
                          <a:latin typeface="Nexa Book"/>
                        </a:defRPr>
                      </a:pPr>
                      <a:r>
                        <a:rPr sz="700" b="0"/>
                        <a:t>Banana Boat Aqua Protect Sport Lotion FPS50+ 236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94952">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4.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94952">
                <a:tc>
                  <a:txBody>
                    <a:bodyPr/>
                    <a:lstStyle/>
                    <a:p>
                      <a:pPr algn="l">
                        <a:defRPr>
                          <a:latin typeface="Nexa Book"/>
                        </a:defRPr>
                      </a:pPr>
                      <a:r>
                        <a:rPr sz="700" b="0"/>
                        <a:t>Nivea Sun Protection &amp; Hydration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94952">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94952">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94952">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94952">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94952">
                <a:tc>
                  <a:txBody>
                    <a:bodyPr/>
                    <a:lstStyle/>
                    <a:p>
                      <a:pPr algn="l">
                        <a:defRPr>
                          <a:latin typeface="Nexa Book"/>
                        </a:defRPr>
                      </a:pPr>
                      <a:r>
                        <a:rPr sz="700" b="0"/>
                        <a:t>Banana Boat Aqua Protect Kids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94952">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94952">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4082841889"/>
              </p:ext>
            </p:extLst>
          </p:nvPr>
        </p:nvGraphicFramePr>
        <p:xfrm>
          <a:off x="3127863" y="1491890"/>
          <a:ext cx="1928962" cy="32559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54033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Advanced Protection</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754265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0</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Ozono</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Lotion FPS50+ 3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Stick FPS50+ 42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Ozono Ultra-Light FPS50+ 1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dvanced Protection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eutrogena Sun Fresh Cream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9572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1</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ilk Hydration</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3912284288"/>
              </p:ext>
            </p:extLst>
          </p:nvPr>
        </p:nvGraphicFramePr>
        <p:xfrm>
          <a:off x="510515" y="1130300"/>
          <a:ext cx="7604988" cy="3613238"/>
        </p:xfrm>
        <a:graphic>
          <a:graphicData uri="http://schemas.openxmlformats.org/drawingml/2006/table">
            <a:tbl>
              <a:tblPr firstRow="1" bandRow="1">
                <a:tableStyleId>{5C22544A-7EE6-4342-B048-85BDC9FD1C3A}</a:tableStyleId>
              </a:tblPr>
              <a:tblGrid>
                <a:gridCol w="2051862">
                  <a:extLst>
                    <a:ext uri="{9D8B030D-6E8A-4147-A177-3AD203B41FA5}">
                      <a16:colId xmlns:a16="http://schemas.microsoft.com/office/drawing/2014/main" val="721526330"/>
                    </a:ext>
                  </a:extLst>
                </a:gridCol>
                <a:gridCol w="1851042">
                  <a:extLst>
                    <a:ext uri="{9D8B030D-6E8A-4147-A177-3AD203B41FA5}">
                      <a16:colId xmlns:a16="http://schemas.microsoft.com/office/drawing/2014/main" val="1048155142"/>
                    </a:ext>
                  </a:extLst>
                </a:gridCol>
                <a:gridCol w="1851042">
                  <a:extLst>
                    <a:ext uri="{9D8B030D-6E8A-4147-A177-3AD203B41FA5}">
                      <a16:colId xmlns:a16="http://schemas.microsoft.com/office/drawing/2014/main" val="2226225783"/>
                    </a:ext>
                  </a:extLst>
                </a:gridCol>
                <a:gridCol w="1851042">
                  <a:extLst>
                    <a:ext uri="{9D8B030D-6E8A-4147-A177-3AD203B41FA5}">
                      <a16:colId xmlns:a16="http://schemas.microsoft.com/office/drawing/2014/main" val="2541288816"/>
                    </a:ext>
                  </a:extLst>
                </a:gridCol>
              </a:tblGrid>
              <a:tr h="455237">
                <a:tc>
                  <a:txBody>
                    <a:bodyPr/>
                    <a:lstStyle/>
                    <a:p>
                      <a:endParaRPr lang="en-US" sz="1200" b="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Serum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Lip balm FPS30 1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Hawaiian Tropic Silk Hydration Glow Mist FPS50+ 1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Hawaiian Tropic Ozono Lotion FPS50+ 24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Nivea Sun Protect &amp; Refresh Sport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Equate Sport Lotion FPS30 237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Hawaiian Tropic Sheer Touch Lotion FPS50 12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Babies &amp; Kids Lotion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141574875"/>
              </p:ext>
            </p:extLst>
          </p:nvPr>
        </p:nvGraphicFramePr>
        <p:xfrm>
          <a:off x="2586496" y="1583364"/>
          <a:ext cx="1548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950345529"/>
              </p:ext>
            </p:extLst>
          </p:nvPr>
        </p:nvGraphicFramePr>
        <p:xfrm>
          <a:off x="4432638" y="1583364"/>
          <a:ext cx="1548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2322471399"/>
              </p:ext>
            </p:extLst>
          </p:nvPr>
        </p:nvGraphicFramePr>
        <p:xfrm>
          <a:off x="6278779" y="1583364"/>
          <a:ext cx="1548000" cy="3168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66371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A6171A-5777-4DCF-03ED-0823D8856A74}"/>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think-cell data - do not delete" hidden="1">
                        <a:extLst>
                          <a:ext uri="{FF2B5EF4-FFF2-40B4-BE49-F238E27FC236}">
                            <a16:creationId xmlns:a16="http://schemas.microsoft.com/office/drawing/2014/main" id="{33A6171A-5777-4DCF-03ED-0823D8856A74}"/>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353DFEAD-A1D1-6542-9D85-214A488D6167}"/>
              </a:ext>
            </a:extLst>
          </p:cNvPr>
          <p:cNvSpPr>
            <a:spLocks noGrp="1"/>
          </p:cNvSpPr>
          <p:nvPr>
            <p:ph type="dt" sz="half" idx="14"/>
          </p:nvPr>
        </p:nvSpPr>
        <p:spPr>
          <a:xfrm>
            <a:off x="8082390" y="4972050"/>
            <a:ext cx="557609" cy="171450"/>
          </a:xfrm>
        </p:spPr>
        <p:txBody>
          <a:bodyPr/>
          <a:lstStyle/>
          <a:p>
            <a:pPr lvl="0"/>
            <a:fld id="{4EB6B45F-B530-4BAF-9193-C42832625196}" type="datetime1">
              <a:rPr lang="en-US" noProof="0"/>
              <a:pPr lvl="0"/>
              <a:t>7/31/2025</a:t>
            </a:fld>
            <a:endParaRPr lang="en-US" noProof="0" dirty="0"/>
          </a:p>
        </p:txBody>
      </p:sp>
      <p:sp>
        <p:nvSpPr>
          <p:cNvPr id="10" name="Footer Placeholder 9">
            <a:extLst>
              <a:ext uri="{FF2B5EF4-FFF2-40B4-BE49-F238E27FC236}">
                <a16:creationId xmlns:a16="http://schemas.microsoft.com/office/drawing/2014/main" id="{D4D8DB3C-73BE-A102-A2BC-AABD486F1C28}"/>
              </a:ext>
            </a:extLst>
          </p:cNvPr>
          <p:cNvSpPr>
            <a:spLocks noGrp="1"/>
          </p:cNvSpPr>
          <p:nvPr>
            <p:ph type="ftr" sz="quarter" idx="15"/>
          </p:nvPr>
        </p:nvSpPr>
        <p:spPr>
          <a:xfrm>
            <a:off x="546969" y="4970700"/>
            <a:ext cx="6451742" cy="174151"/>
          </a:xfrm>
        </p:spPr>
        <p:txBody>
          <a:bodyPr/>
          <a:lstStyle/>
          <a:p>
            <a:pPr lvl="0"/>
            <a:endParaRPr lang="en-US" noProof="0" dirty="0"/>
          </a:p>
        </p:txBody>
      </p:sp>
      <p:sp>
        <p:nvSpPr>
          <p:cNvPr id="9" name="Slide Number Placeholder 8">
            <a:extLst>
              <a:ext uri="{FF2B5EF4-FFF2-40B4-BE49-F238E27FC236}">
                <a16:creationId xmlns:a16="http://schemas.microsoft.com/office/drawing/2014/main" id="{42790245-CC35-4A86-9084-F27F8D4F407E}"/>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22</a:t>
            </a:fld>
            <a:endParaRPr lang="en-US" noProof="0"/>
          </a:p>
        </p:txBody>
      </p:sp>
      <p:sp>
        <p:nvSpPr>
          <p:cNvPr id="8" name="Text Placeholder 7">
            <a:extLst>
              <a:ext uri="{FF2B5EF4-FFF2-40B4-BE49-F238E27FC236}">
                <a16:creationId xmlns:a16="http://schemas.microsoft.com/office/drawing/2014/main" id="{0E3E615C-F877-449B-9D49-17526771E45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6" name="Text Placeholder 5">
            <a:extLst>
              <a:ext uri="{FF2B5EF4-FFF2-40B4-BE49-F238E27FC236}">
                <a16:creationId xmlns:a16="http://schemas.microsoft.com/office/drawing/2014/main" id="{D55134F6-EB04-3FE8-6CD7-5BDCFF545022}"/>
              </a:ext>
            </a:extLst>
          </p:cNvPr>
          <p:cNvSpPr>
            <a:spLocks noGrp="1"/>
          </p:cNvSpPr>
          <p:nvPr>
            <p:ph type="body" sz="quarter" idx="18"/>
          </p:nvPr>
        </p:nvSpPr>
        <p:spPr>
          <a:xfrm>
            <a:off x="503238" y="774000"/>
            <a:ext cx="8136762" cy="360000"/>
          </a:xfrm>
        </p:spPr>
        <p:txBody>
          <a:bodyPr/>
          <a:lstStyle/>
          <a:p>
            <a:r>
              <a:rPr sz="1200">
                <a:latin typeface="Nexa Bold (Headings)"/>
              </a:rPr>
              <a:t>Innovation | Sourcing Analysis | Walmart | Sport</a:t>
            </a:r>
          </a:p>
          <a:p>
            <a:r>
              <a:rPr sz="1000">
                <a:latin typeface="Nexa Book"/>
              </a:rPr>
              <a:t>Rescaled Delta Share by Product &amp; </a:t>
            </a:r>
            <a:r>
              <a:rPr sz="1000">
                <a:solidFill>
                  <a:srgbClr val="00A197"/>
                </a:solidFill>
                <a:latin typeface="Nexa Book"/>
              </a:rPr>
              <a:t>Fair Share</a:t>
            </a:r>
          </a:p>
        </p:txBody>
      </p:sp>
      <p:sp>
        <p:nvSpPr>
          <p:cNvPr id="5" name="Title 4">
            <a:extLst>
              <a:ext uri="{FF2B5EF4-FFF2-40B4-BE49-F238E27FC236}">
                <a16:creationId xmlns:a16="http://schemas.microsoft.com/office/drawing/2014/main" id="{395DB3D6-566A-6C68-BCB1-630B40CC6AF4}"/>
              </a:ext>
            </a:extLst>
          </p:cNvPr>
          <p:cNvSpPr>
            <a:spLocks noGrp="1"/>
          </p:cNvSpPr>
          <p:nvPr>
            <p:ph type="title"/>
          </p:nvPr>
        </p:nvSpPr>
        <p:spPr>
          <a:xfrm>
            <a:off x="504000" y="-1"/>
            <a:ext cx="8136000" cy="771525"/>
          </a:xfrm>
        </p:spPr>
        <p:txBody>
          <a:bodyPr vert="horz"/>
          <a:lstStyle/>
          <a:p>
            <a:r>
              <a:rPr lang="en-US" dirty="0">
                <a:highlight>
                  <a:srgbClr val="FFFF00"/>
                </a:highlight>
              </a:rPr>
              <a:t>Innovation sourc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 name="T1">
            <a:extLst>
              <a:ext uri="{FF2B5EF4-FFF2-40B4-BE49-F238E27FC236}">
                <a16:creationId xmlns:a16="http://schemas.microsoft.com/office/drawing/2014/main" id="{4216B121-BA0E-42BE-B43F-95D8C12C9C2A}"/>
              </a:ext>
            </a:extLst>
          </p:cNvPr>
          <p:cNvGraphicFramePr>
            <a:graphicFrameLocks noGrp="1"/>
          </p:cNvGraphicFramePr>
          <p:nvPr>
            <p:ph idx="4294967295"/>
            <p:extLst>
              <p:ext uri="{D42A27DB-BD31-4B8C-83A1-F6EECF244321}">
                <p14:modId xmlns:p14="http://schemas.microsoft.com/office/powerpoint/2010/main" val="2326166119"/>
              </p:ext>
            </p:extLst>
          </p:nvPr>
        </p:nvGraphicFramePr>
        <p:xfrm>
          <a:off x="513744" y="1136650"/>
          <a:ext cx="8130194" cy="3658181"/>
        </p:xfrm>
        <a:graphic>
          <a:graphicData uri="http://schemas.openxmlformats.org/drawingml/2006/table">
            <a:tbl>
              <a:tblPr firstRow="1" bandRow="1">
                <a:tableStyleId>{5C22544A-7EE6-4342-B048-85BDC9FD1C3A}</a:tableStyleId>
              </a:tblPr>
              <a:tblGrid>
                <a:gridCol w="1629646">
                  <a:extLst>
                    <a:ext uri="{9D8B030D-6E8A-4147-A177-3AD203B41FA5}">
                      <a16:colId xmlns:a16="http://schemas.microsoft.com/office/drawing/2014/main" val="721526330"/>
                    </a:ext>
                  </a:extLst>
                </a:gridCol>
                <a:gridCol w="1625137">
                  <a:extLst>
                    <a:ext uri="{9D8B030D-6E8A-4147-A177-3AD203B41FA5}">
                      <a16:colId xmlns:a16="http://schemas.microsoft.com/office/drawing/2014/main" val="1048155142"/>
                    </a:ext>
                  </a:extLst>
                </a:gridCol>
                <a:gridCol w="1625137">
                  <a:extLst>
                    <a:ext uri="{9D8B030D-6E8A-4147-A177-3AD203B41FA5}">
                      <a16:colId xmlns:a16="http://schemas.microsoft.com/office/drawing/2014/main" val="2226225783"/>
                    </a:ext>
                  </a:extLst>
                </a:gridCol>
                <a:gridCol w="1625137">
                  <a:extLst>
                    <a:ext uri="{9D8B030D-6E8A-4147-A177-3AD203B41FA5}">
                      <a16:colId xmlns:a16="http://schemas.microsoft.com/office/drawing/2014/main" val="2541288816"/>
                    </a:ext>
                  </a:extLst>
                </a:gridCol>
                <a:gridCol w="1625137">
                  <a:extLst>
                    <a:ext uri="{9D8B030D-6E8A-4147-A177-3AD203B41FA5}">
                      <a16:colId xmlns:a16="http://schemas.microsoft.com/office/drawing/2014/main" val="1505432836"/>
                    </a:ext>
                  </a:extLst>
                </a:gridCol>
              </a:tblGrid>
              <a:tr h="500180">
                <a:tc>
                  <a:txBody>
                    <a:bodyPr/>
                    <a:lstStyle/>
                    <a:p>
                      <a:endParaRPr lang="en-US" sz="1200" b="0" dirty="0">
                        <a:solidFill>
                          <a:schemeClr val="tx2"/>
                        </a:solidFill>
                        <a:latin typeface="Nexa Bold" panose="00000800000000000000" pitchFamily="2" charset="0"/>
                        <a:ea typeface="Open Sans" panose="020B0606030504020204" pitchFamily="34" charset="0"/>
                        <a:cs typeface="Open Sans" panose="020B0606030504020204" pitchFamily="34" charset="0"/>
                      </a:endParaRPr>
                    </a:p>
                  </a:txBody>
                  <a:tcPr marL="68580" marR="68580" marT="34290" marB="34290">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Aqua Protect Sport Spray FPS50+ 24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Stick FPS50+ 40g</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Dry Balance Sport Aerosol FPS50+ 200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defRPr>
                          <a:latin typeface="Nexa Bold"/>
                        </a:defRPr>
                      </a:pPr>
                      <a:r>
                        <a:rPr sz="800" b="0">
                          <a:solidFill>
                            <a:srgbClr val="575555"/>
                          </a:solidFill>
                        </a:rPr>
                        <a:t>Banana Boat Sport Lotion FPS50+ 354ml</a:t>
                      </a:r>
                    </a:p>
                  </a:txBody>
                  <a:tcPr marL="68580" marR="68580" marT="34290" marB="3429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79314632"/>
                  </a:ext>
                </a:extLst>
              </a:tr>
              <a:tr h="287091">
                <a:tc>
                  <a:txBody>
                    <a:bodyPr/>
                    <a:lstStyle/>
                    <a:p>
                      <a:pPr algn="l">
                        <a:defRPr>
                          <a:latin typeface="Nexa Book"/>
                        </a:defRPr>
                      </a:pPr>
                      <a:r>
                        <a:rPr sz="700" b="0"/>
                        <a:t>Nivea Sun Protect &amp; Refresh Sport Lotion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896903"/>
                  </a:ext>
                </a:extLst>
              </a:tr>
              <a:tr h="287091">
                <a:tc>
                  <a:txBody>
                    <a:bodyPr/>
                    <a:lstStyle/>
                    <a:p>
                      <a:pPr algn="l">
                        <a:defRPr>
                          <a:latin typeface="Nexa Book"/>
                        </a:defRPr>
                      </a:pPr>
                      <a:r>
                        <a:rPr sz="700" b="0"/>
                        <a:t>Nivea Sun Protection &amp; Hydration Cream FPS50+ 200ml</a:t>
                      </a:r>
                    </a:p>
                  </a:txBody>
                  <a:tcPr marL="0" marR="68580" marT="34290" marB="3429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418687"/>
                  </a:ext>
                </a:extLst>
              </a:tr>
              <a:tr h="287091">
                <a:tc>
                  <a:txBody>
                    <a:bodyPr/>
                    <a:lstStyle/>
                    <a:p>
                      <a:pPr algn="l">
                        <a:defRPr>
                          <a:latin typeface="Nexa Book"/>
                        </a:defRPr>
                      </a:pPr>
                      <a:r>
                        <a:rPr sz="700" b="0"/>
                        <a:t>Hawaiian Tropic Ozono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601717"/>
                  </a:ext>
                </a:extLst>
              </a:tr>
              <a:tr h="287091">
                <a:tc>
                  <a:txBody>
                    <a:bodyPr/>
                    <a:lstStyle/>
                    <a:p>
                      <a:pPr algn="l">
                        <a:defRPr>
                          <a:latin typeface="Nexa Book"/>
                        </a:defRPr>
                      </a:pPr>
                      <a:r>
                        <a:rPr sz="700" b="0"/>
                        <a:t>Banana Boat Aqua Protect Sport Lotion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3762638"/>
                  </a:ext>
                </a:extLst>
              </a:tr>
              <a:tr h="287091">
                <a:tc>
                  <a:txBody>
                    <a:bodyPr/>
                    <a:lstStyle/>
                    <a:p>
                      <a:pPr algn="l">
                        <a:defRPr>
                          <a:latin typeface="Nexa Book"/>
                        </a:defRPr>
                      </a:pPr>
                      <a:r>
                        <a:rPr sz="700" b="0"/>
                        <a:t>Hawaiian Tropic Sheer Touch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513420"/>
                  </a:ext>
                </a:extLst>
              </a:tr>
              <a:tr h="287091">
                <a:tc>
                  <a:txBody>
                    <a:bodyPr/>
                    <a:lstStyle/>
                    <a:p>
                      <a:pPr algn="l">
                        <a:defRPr>
                          <a:latin typeface="Nexa Book"/>
                        </a:defRPr>
                      </a:pPr>
                      <a:r>
                        <a:rPr sz="700" b="0"/>
                        <a:t>Hawaiian Tropic Island Sport Lotion FPS50 24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2561583"/>
                  </a:ext>
                </a:extLst>
              </a:tr>
              <a:tr h="287091">
                <a:tc>
                  <a:txBody>
                    <a:bodyPr/>
                    <a:lstStyle/>
                    <a:p>
                      <a:pPr algn="l">
                        <a:defRPr>
                          <a:latin typeface="Nexa Book"/>
                        </a:defRPr>
                      </a:pPr>
                      <a:r>
                        <a:rPr sz="700" b="0"/>
                        <a:t>Nivea Sun Protection Sensitive Skin Gel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9</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225186"/>
                  </a:ext>
                </a:extLst>
              </a:tr>
              <a:tr h="287091">
                <a:tc>
                  <a:txBody>
                    <a:bodyPr/>
                    <a:lstStyle/>
                    <a:p>
                      <a:pPr algn="l">
                        <a:defRPr>
                          <a:latin typeface="Nexa Book"/>
                        </a:defRPr>
                      </a:pPr>
                      <a:r>
                        <a:rPr sz="700" b="0"/>
                        <a:t>Banana Boat Aqua Protect Cream FPS50+ 236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5</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7557293"/>
                  </a:ext>
                </a:extLst>
              </a:tr>
              <a:tr h="287091">
                <a:tc>
                  <a:txBody>
                    <a:bodyPr/>
                    <a:lstStyle/>
                    <a:p>
                      <a:pPr algn="l">
                        <a:defRPr>
                          <a:latin typeface="Nexa Book"/>
                        </a:defRPr>
                      </a:pPr>
                      <a:r>
                        <a:rPr sz="700" b="0"/>
                        <a:t>Banana Boat Dry Balance Sport Spray FPS50 17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2.8</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3.3</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0</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33896"/>
                  </a:ext>
                </a:extLst>
              </a:tr>
              <a:tr h="287091">
                <a:tc>
                  <a:txBody>
                    <a:bodyPr/>
                    <a:lstStyle/>
                    <a:p>
                      <a:pPr algn="l">
                        <a:defRPr>
                          <a:latin typeface="Nexa Book"/>
                        </a:defRPr>
                      </a:pPr>
                      <a:r>
                        <a:rPr sz="700" b="0"/>
                        <a:t>Nivea Sun Protect &amp; Refresh Sport Spray FPS50 200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4</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2</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1.1</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532404"/>
                  </a:ext>
                </a:extLst>
              </a:tr>
              <a:tr h="287091">
                <a:tc>
                  <a:txBody>
                    <a:bodyPr/>
                    <a:lstStyle/>
                    <a:p>
                      <a:pPr algn="l">
                        <a:defRPr>
                          <a:latin typeface="Nexa Book"/>
                        </a:defRPr>
                      </a:pPr>
                      <a:r>
                        <a:rPr sz="700" b="0"/>
                        <a:t>Nivea Sun Protection &amp; Hydration Lotion FPS50+ 125ml</a:t>
                      </a:r>
                    </a:p>
                  </a:txBody>
                  <a:tcPr marL="2858" marR="2858" marT="2858" marB="0" anchor="ctr">
                    <a:lnL w="12700" cmpd="sng">
                      <a:noFill/>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6</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defRPr>
                          <a:solidFill>
                            <a:srgbClr val="00A097"/>
                          </a:solidFill>
                          <a:latin typeface="Nexa Book"/>
                        </a:defRPr>
                      </a:pPr>
                      <a:r>
                        <a:rPr sz="700" b="0"/>
                        <a:t>0.7</a:t>
                      </a:r>
                    </a:p>
                  </a:txBody>
                  <a:tcPr marL="36000" marR="36000" marT="34290" marB="34290" anchor="ctr">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w="12700" cap="flat" cmpd="sng" algn="ctr">
                      <a:solidFill>
                        <a:schemeClr val="tx2">
                          <a:lumMod val="20000"/>
                          <a:lumOff val="80000"/>
                        </a:schemeClr>
                      </a:solidFill>
                      <a:prstDash val="sysDot"/>
                      <a:round/>
                      <a:headEnd type="none" w="med" len="med"/>
                      <a:tailEnd type="none" w="med" len="med"/>
                    </a:lnT>
                    <a:lnB w="12700" cap="flat" cmpd="sng" algn="ctr">
                      <a:solidFill>
                        <a:schemeClr val="tx2">
                          <a:lumMod val="20000"/>
                          <a:lumOff val="8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9640701"/>
                  </a:ext>
                </a:extLst>
              </a:tr>
            </a:tbl>
          </a:graphicData>
        </a:graphic>
      </p:graphicFrame>
      <p:graphicFrame>
        <p:nvGraphicFramePr>
          <p:cNvPr id="22" name="C1">
            <a:extLst>
              <a:ext uri="{FF2B5EF4-FFF2-40B4-BE49-F238E27FC236}">
                <a16:creationId xmlns:a16="http://schemas.microsoft.com/office/drawing/2014/main" id="{4BD40146-997A-4DD8-9328-B245AE537396}"/>
              </a:ext>
            </a:extLst>
          </p:cNvPr>
          <p:cNvGraphicFramePr>
            <a:graphicFrameLocks/>
          </p:cNvGraphicFramePr>
          <p:nvPr>
            <p:extLst>
              <p:ext uri="{D42A27DB-BD31-4B8C-83A1-F6EECF244321}">
                <p14:modId xmlns:p14="http://schemas.microsoft.com/office/powerpoint/2010/main" val="3397156292"/>
              </p:ext>
            </p:extLst>
          </p:nvPr>
        </p:nvGraphicFramePr>
        <p:xfrm>
          <a:off x="2156157" y="1633547"/>
          <a:ext cx="1332000" cy="316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2">
            <a:extLst>
              <a:ext uri="{FF2B5EF4-FFF2-40B4-BE49-F238E27FC236}">
                <a16:creationId xmlns:a16="http://schemas.microsoft.com/office/drawing/2014/main" id="{CF549649-9D07-45BA-9997-BE52ED385C34}"/>
              </a:ext>
            </a:extLst>
          </p:cNvPr>
          <p:cNvGraphicFramePr>
            <a:graphicFrameLocks/>
          </p:cNvGraphicFramePr>
          <p:nvPr>
            <p:extLst>
              <p:ext uri="{D42A27DB-BD31-4B8C-83A1-F6EECF244321}">
                <p14:modId xmlns:p14="http://schemas.microsoft.com/office/powerpoint/2010/main" val="3853387886"/>
              </p:ext>
            </p:extLst>
          </p:nvPr>
        </p:nvGraphicFramePr>
        <p:xfrm>
          <a:off x="3776876" y="1633547"/>
          <a:ext cx="1332000" cy="316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3">
            <a:extLst>
              <a:ext uri="{FF2B5EF4-FFF2-40B4-BE49-F238E27FC236}">
                <a16:creationId xmlns:a16="http://schemas.microsoft.com/office/drawing/2014/main" id="{FC0D54D0-1ACD-4937-8BF6-259AC4A57D6A}"/>
              </a:ext>
            </a:extLst>
          </p:cNvPr>
          <p:cNvGraphicFramePr>
            <a:graphicFrameLocks/>
          </p:cNvGraphicFramePr>
          <p:nvPr>
            <p:extLst>
              <p:ext uri="{D42A27DB-BD31-4B8C-83A1-F6EECF244321}">
                <p14:modId xmlns:p14="http://schemas.microsoft.com/office/powerpoint/2010/main" val="1751624092"/>
              </p:ext>
            </p:extLst>
          </p:nvPr>
        </p:nvGraphicFramePr>
        <p:xfrm>
          <a:off x="5397595" y="1633547"/>
          <a:ext cx="1332000" cy="316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3">
            <a:extLst>
              <a:ext uri="{FF2B5EF4-FFF2-40B4-BE49-F238E27FC236}">
                <a16:creationId xmlns:a16="http://schemas.microsoft.com/office/drawing/2014/main" id="{BEBEDFFE-F504-857B-0EA5-AA5211D9DC3D}"/>
              </a:ext>
            </a:extLst>
          </p:cNvPr>
          <p:cNvGraphicFramePr>
            <a:graphicFrameLocks/>
          </p:cNvGraphicFramePr>
          <p:nvPr>
            <p:extLst>
              <p:ext uri="{D42A27DB-BD31-4B8C-83A1-F6EECF244321}">
                <p14:modId xmlns:p14="http://schemas.microsoft.com/office/powerpoint/2010/main" val="1096282456"/>
              </p:ext>
            </p:extLst>
          </p:nvPr>
        </p:nvGraphicFramePr>
        <p:xfrm>
          <a:off x="7018315" y="1633547"/>
          <a:ext cx="1332000" cy="316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2402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3</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aby</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52490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4</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Beautycare</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2859956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CA2BB6-6314-F87E-F71B-5A3B40BA754C}"/>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9F83F2E-4496-57D3-A6AF-63FBD977DAB6}"/>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09F83F2E-4496-57D3-A6AF-63FBD977DAB6}"/>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1B949444-4C43-8678-1EB0-79BC29A5DC0D}"/>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39308DA1-F287-5B81-7ABF-B17068836394}"/>
              </a:ext>
            </a:extLst>
          </p:cNvPr>
          <p:cNvSpPr>
            <a:spLocks noGrp="1"/>
          </p:cNvSpPr>
          <p:nvPr>
            <p:ph type="ftr" sz="quarter" idx="15"/>
          </p:nvPr>
        </p:nvSpPr>
        <p:spPr>
          <a:xfrm>
            <a:off x="546969" y="4970700"/>
            <a:ext cx="6451742" cy="174151"/>
          </a:xfrm>
        </p:spPr>
        <p:txBody>
          <a:bodyPr/>
          <a:lstStyle/>
          <a:p>
            <a:pPr lvl="0"/>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E7D61BF2-525A-209D-9419-FE1ED0E98338}"/>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5</a:t>
            </a:fld>
            <a:endParaRPr lang="en-US" noProof="0"/>
          </a:p>
        </p:txBody>
      </p:sp>
      <p:sp>
        <p:nvSpPr>
          <p:cNvPr id="10" name="Content Placeholder 9">
            <a:extLst>
              <a:ext uri="{FF2B5EF4-FFF2-40B4-BE49-F238E27FC236}">
                <a16:creationId xmlns:a16="http://schemas.microsoft.com/office/drawing/2014/main" id="{1FC37CA7-551A-ECA1-3602-72149EDE0A3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B22FF677-7330-F110-E8C4-FAE166EBDE03}"/>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Kids</a:t>
            </a:r>
          </a:p>
        </p:txBody>
      </p:sp>
      <p:sp>
        <p:nvSpPr>
          <p:cNvPr id="8" name="Title 7">
            <a:extLst>
              <a:ext uri="{FF2B5EF4-FFF2-40B4-BE49-F238E27FC236}">
                <a16:creationId xmlns:a16="http://schemas.microsoft.com/office/drawing/2014/main" id="{507085F6-B6AB-BAB5-20D8-B8D77658C990}"/>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22072898-026F-B905-3F09-F0C8CEB2410B}"/>
              </a:ext>
            </a:extLst>
          </p:cNvPr>
          <p:cNvGraphicFramePr>
            <a:graphicFrameLocks/>
          </p:cNvGraphicFramePr>
          <p:nvPr>
            <p:extLst>
              <p:ext uri="{D42A27DB-BD31-4B8C-83A1-F6EECF244321}">
                <p14:modId xmlns:p14="http://schemas.microsoft.com/office/powerpoint/2010/main" val="1697137807"/>
              </p:ext>
            </p:extLst>
          </p:nvPr>
        </p:nvGraphicFramePr>
        <p:xfrm>
          <a:off x="2613976" y="1156312"/>
          <a:ext cx="5670000" cy="3572429"/>
        </p:xfrm>
        <a:graphic>
          <a:graphicData uri="http://schemas.openxmlformats.org/drawingml/2006/chart">
            <c:chart xmlns:c="http://schemas.openxmlformats.org/drawingml/2006/chart" xmlns:r="http://schemas.openxmlformats.org/officeDocument/2006/relationships" r:id="rId5"/>
          </a:graphicData>
        </a:graphic>
      </p:graphicFrame>
      <p:sp>
        <p:nvSpPr>
          <p:cNvPr id="7" name="TB5">
            <a:extLst>
              <a:ext uri="{FF2B5EF4-FFF2-40B4-BE49-F238E27FC236}">
                <a16:creationId xmlns:a16="http://schemas.microsoft.com/office/drawing/2014/main" id="{0C2B1F16-70EC-32A2-83A7-66CBB06F50CB}"/>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6" name="Rectangle 5">
            <a:extLst>
              <a:ext uri="{FF2B5EF4-FFF2-40B4-BE49-F238E27FC236}">
                <a16:creationId xmlns:a16="http://schemas.microsoft.com/office/drawing/2014/main" id="{6A78CA1A-5A0E-C589-A245-33A898E6AFDA}"/>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2" name="Table 11">
            <a:extLst>
              <a:ext uri="{FF2B5EF4-FFF2-40B4-BE49-F238E27FC236}">
                <a16:creationId xmlns:a16="http://schemas.microsoft.com/office/drawing/2014/main" id="{B323F3DA-4D3D-C2C5-CC36-1954EA6C58FC}"/>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1982596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6</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Ozono</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692269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A392020-34BE-7E4F-CB0C-D614C602BA77}"/>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2A392020-34BE-7E4F-CB0C-D614C602BA77}"/>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B4888DEA-F240-4680-941B-EDA3D8F62C95}"/>
              </a:ext>
            </a:extLst>
          </p:cNvPr>
          <p:cNvGraphicFramePr>
            <a:graphicFrameLocks/>
          </p:cNvGraphicFramePr>
          <p:nvPr>
            <p:extLst>
              <p:ext uri="{D42A27DB-BD31-4B8C-83A1-F6EECF244321}">
                <p14:modId xmlns:p14="http://schemas.microsoft.com/office/powerpoint/2010/main" val="24114549"/>
              </p:ext>
            </p:extLst>
          </p:nvPr>
        </p:nvGraphicFramePr>
        <p:xfrm>
          <a:off x="2613976" y="1135428"/>
          <a:ext cx="5670000" cy="1152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7BAFCE58-B928-3000-639C-213EF4C510C1}"/>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2B2EEAAC-F86A-B5F2-1B6F-18475945AF9E}"/>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5F77E7A-3A20-B2EC-1A30-18BFB94B014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7</a:t>
            </a:fld>
            <a:endParaRPr lang="en-US" noProof="0"/>
          </a:p>
        </p:txBody>
      </p:sp>
      <p:sp>
        <p:nvSpPr>
          <p:cNvPr id="10" name="Content Placeholder 9">
            <a:extLst>
              <a:ext uri="{FF2B5EF4-FFF2-40B4-BE49-F238E27FC236}">
                <a16:creationId xmlns:a16="http://schemas.microsoft.com/office/drawing/2014/main" id="{3928E358-746D-422B-A23D-47E23D386150}"/>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A093B738-C3A2-BB70-12B8-3674E3A302F4}"/>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ilk Hydration</a:t>
            </a:r>
          </a:p>
        </p:txBody>
      </p:sp>
      <p:sp>
        <p:nvSpPr>
          <p:cNvPr id="8" name="Title 7">
            <a:extLst>
              <a:ext uri="{FF2B5EF4-FFF2-40B4-BE49-F238E27FC236}">
                <a16:creationId xmlns:a16="http://schemas.microsoft.com/office/drawing/2014/main" id="{F59A75B5-7023-411F-8B3F-C745A7BBA78D}"/>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sp>
        <p:nvSpPr>
          <p:cNvPr id="26" name="Rectangle 25">
            <a:extLst>
              <a:ext uri="{FF2B5EF4-FFF2-40B4-BE49-F238E27FC236}">
                <a16:creationId xmlns:a16="http://schemas.microsoft.com/office/drawing/2014/main" id="{66175E8E-3D4B-4215-89AA-7D2E8F2D16C1}"/>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22" name="C3">
            <a:extLst>
              <a:ext uri="{FF2B5EF4-FFF2-40B4-BE49-F238E27FC236}">
                <a16:creationId xmlns:a16="http://schemas.microsoft.com/office/drawing/2014/main" id="{2321A35A-BA05-4371-B39B-137903A03986}"/>
              </a:ext>
            </a:extLst>
          </p:cNvPr>
          <p:cNvGraphicFramePr>
            <a:graphicFrameLocks/>
          </p:cNvGraphicFramePr>
          <p:nvPr>
            <p:extLst>
              <p:ext uri="{D42A27DB-BD31-4B8C-83A1-F6EECF244321}">
                <p14:modId xmlns:p14="http://schemas.microsoft.com/office/powerpoint/2010/main" val="3843137103"/>
              </p:ext>
            </p:extLst>
          </p:nvPr>
        </p:nvGraphicFramePr>
        <p:xfrm>
          <a:off x="2613976" y="3576118"/>
          <a:ext cx="5670000" cy="115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CE503607-E2DC-4D1E-8776-B5976E680F12}"/>
              </a:ext>
            </a:extLst>
          </p:cNvPr>
          <p:cNvGraphicFramePr>
            <a:graphicFrameLocks/>
          </p:cNvGraphicFramePr>
          <p:nvPr>
            <p:extLst>
              <p:ext uri="{D42A27DB-BD31-4B8C-83A1-F6EECF244321}">
                <p14:modId xmlns:p14="http://schemas.microsoft.com/office/powerpoint/2010/main" val="1812229485"/>
              </p:ext>
            </p:extLst>
          </p:nvPr>
        </p:nvGraphicFramePr>
        <p:xfrm>
          <a:off x="2613976" y="2356113"/>
          <a:ext cx="5670000" cy="1152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B5">
            <a:extLst>
              <a:ext uri="{FF2B5EF4-FFF2-40B4-BE49-F238E27FC236}">
                <a16:creationId xmlns:a16="http://schemas.microsoft.com/office/drawing/2014/main" id="{5C89AF43-EDEB-B561-3415-641BFA6279D3}"/>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graphicFrame>
        <p:nvGraphicFramePr>
          <p:cNvPr id="9" name="Table 8">
            <a:extLst>
              <a:ext uri="{FF2B5EF4-FFF2-40B4-BE49-F238E27FC236}">
                <a16:creationId xmlns:a16="http://schemas.microsoft.com/office/drawing/2014/main" id="{6F3CB642-55A5-5B59-0D78-873432814734}"/>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683329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882CF3-07C3-5811-DF5C-0ADE57B497D5}"/>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B895F6A-DA37-0273-2F5A-56592CFB476D}"/>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think-cell data - do not delete" hidden="1">
                        <a:extLst>
                          <a:ext uri="{FF2B5EF4-FFF2-40B4-BE49-F238E27FC236}">
                            <a16:creationId xmlns:a16="http://schemas.microsoft.com/office/drawing/2014/main" id="{1B895F6A-DA37-0273-2F5A-56592CFB476D}"/>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graphicFrame>
        <p:nvGraphicFramePr>
          <p:cNvPr id="14" name="C1">
            <a:extLst>
              <a:ext uri="{FF2B5EF4-FFF2-40B4-BE49-F238E27FC236}">
                <a16:creationId xmlns:a16="http://schemas.microsoft.com/office/drawing/2014/main" id="{9914753B-F47F-F88C-4CD7-4E3A13DBBE14}"/>
              </a:ext>
            </a:extLst>
          </p:cNvPr>
          <p:cNvGraphicFramePr>
            <a:graphicFrameLocks/>
          </p:cNvGraphicFramePr>
          <p:nvPr>
            <p:extLst>
              <p:ext uri="{D42A27DB-BD31-4B8C-83A1-F6EECF244321}">
                <p14:modId xmlns:p14="http://schemas.microsoft.com/office/powerpoint/2010/main" val="3483489269"/>
              </p:ext>
            </p:extLst>
          </p:nvPr>
        </p:nvGraphicFramePr>
        <p:xfrm>
          <a:off x="2613976" y="1138659"/>
          <a:ext cx="5670000" cy="864000"/>
        </p:xfrm>
        <a:graphic>
          <a:graphicData uri="http://schemas.openxmlformats.org/drawingml/2006/chart">
            <c:chart xmlns:c="http://schemas.openxmlformats.org/drawingml/2006/chart" xmlns:r="http://schemas.openxmlformats.org/officeDocument/2006/relationships" r:id="rId5"/>
          </a:graphicData>
        </a:graphic>
      </p:graphicFrame>
      <p:sp>
        <p:nvSpPr>
          <p:cNvPr id="2" name="Date Placeholder 1">
            <a:extLst>
              <a:ext uri="{FF2B5EF4-FFF2-40B4-BE49-F238E27FC236}">
                <a16:creationId xmlns:a16="http://schemas.microsoft.com/office/drawing/2014/main" id="{5AC3BDDE-DD90-6AE6-C90C-92067C67F6EA}"/>
              </a:ext>
            </a:extLst>
          </p:cNvPr>
          <p:cNvSpPr>
            <a:spLocks noGrp="1"/>
          </p:cNvSpPr>
          <p:nvPr>
            <p:ph type="dt" sz="half" idx="14"/>
          </p:nvPr>
        </p:nvSpPr>
        <p:spPr>
          <a:xfrm>
            <a:off x="8082390" y="4972050"/>
            <a:ext cx="557609" cy="171450"/>
          </a:xfrm>
        </p:spPr>
        <p:txBody>
          <a:bodyPr/>
          <a:lstStyle/>
          <a:p>
            <a:pPr lvl="0"/>
            <a:fld id="{F632CF21-2390-4A0B-8364-B2E9978807FB}" type="datetime1">
              <a:rPr lang="en-US" noProof="0"/>
              <a:pPr lvl="0"/>
              <a:t>7/31/2025</a:t>
            </a:fld>
            <a:endParaRPr lang="en-US" noProof="0"/>
          </a:p>
        </p:txBody>
      </p:sp>
      <p:sp>
        <p:nvSpPr>
          <p:cNvPr id="4" name="Footer Placeholder 3">
            <a:extLst>
              <a:ext uri="{FF2B5EF4-FFF2-40B4-BE49-F238E27FC236}">
                <a16:creationId xmlns:a16="http://schemas.microsoft.com/office/drawing/2014/main" id="{88D7FFA9-1033-416E-3BF9-C48C853C07F2}"/>
              </a:ext>
            </a:extLst>
          </p:cNvPr>
          <p:cNvSpPr>
            <a:spLocks noGrp="1"/>
          </p:cNvSpPr>
          <p:nvPr>
            <p:ph type="ftr" sz="quarter" idx="15"/>
          </p:nvPr>
        </p:nvSpPr>
        <p:spPr>
          <a:xfrm>
            <a:off x="546969" y="4970700"/>
            <a:ext cx="6451742" cy="174151"/>
          </a:xfrm>
        </p:spPr>
        <p:txBody>
          <a:bodyPr/>
          <a:lstStyle/>
          <a:p>
            <a:r>
              <a:rPr lang="en-US" noProof="0" dirty="0">
                <a:solidFill>
                  <a:srgbClr val="FF0000"/>
                </a:solidFill>
              </a:rPr>
              <a:t>Normalized with WD (WD = 100 for all)</a:t>
            </a:r>
          </a:p>
        </p:txBody>
      </p:sp>
      <p:sp>
        <p:nvSpPr>
          <p:cNvPr id="3" name="Slide Number Placeholder 2">
            <a:extLst>
              <a:ext uri="{FF2B5EF4-FFF2-40B4-BE49-F238E27FC236}">
                <a16:creationId xmlns:a16="http://schemas.microsoft.com/office/drawing/2014/main" id="{574EE7FD-17DE-A000-51DD-64583C30B8C9}"/>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8</a:t>
            </a:fld>
            <a:endParaRPr lang="en-US" noProof="0"/>
          </a:p>
        </p:txBody>
      </p:sp>
      <p:sp>
        <p:nvSpPr>
          <p:cNvPr id="10" name="Content Placeholder 9">
            <a:extLst>
              <a:ext uri="{FF2B5EF4-FFF2-40B4-BE49-F238E27FC236}">
                <a16:creationId xmlns:a16="http://schemas.microsoft.com/office/drawing/2014/main" id="{57414DB4-DCD8-2D94-712C-A3B45ED42A7A}"/>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Text Placeholder 4">
            <a:extLst>
              <a:ext uri="{FF2B5EF4-FFF2-40B4-BE49-F238E27FC236}">
                <a16:creationId xmlns:a16="http://schemas.microsoft.com/office/drawing/2014/main" id="{F7BF4142-66D5-995D-7503-B6FC84F386AE}"/>
              </a:ext>
            </a:extLst>
          </p:cNvPr>
          <p:cNvSpPr>
            <a:spLocks noGrp="1"/>
          </p:cNvSpPr>
          <p:nvPr>
            <p:ph type="body" sz="quarter" idx="18"/>
          </p:nvPr>
        </p:nvSpPr>
        <p:spPr>
          <a:xfrm>
            <a:off x="503238" y="774000"/>
            <a:ext cx="8136762" cy="360000"/>
          </a:xfrm>
        </p:spPr>
        <p:txBody>
          <a:bodyPr/>
          <a:lstStyle/>
          <a:p>
            <a:pPr>
              <a:defRPr sz="1200">
                <a:latin typeface="Nexa Bold (Headings)"/>
              </a:defRPr>
            </a:pPr>
            <a:r>
              <a:t>Ranking SKUs when introducing each innovation one by one | Walmart | Sport</a:t>
            </a:r>
          </a:p>
        </p:txBody>
      </p:sp>
      <p:sp>
        <p:nvSpPr>
          <p:cNvPr id="8" name="Title 7">
            <a:extLst>
              <a:ext uri="{FF2B5EF4-FFF2-40B4-BE49-F238E27FC236}">
                <a16:creationId xmlns:a16="http://schemas.microsoft.com/office/drawing/2014/main" id="{3C1316BD-FE91-E579-52A7-C5FDE93AAC73}"/>
              </a:ext>
            </a:extLst>
          </p:cNvPr>
          <p:cNvSpPr>
            <a:spLocks noGrp="1"/>
          </p:cNvSpPr>
          <p:nvPr>
            <p:ph type="title"/>
          </p:nvPr>
        </p:nvSpPr>
        <p:spPr>
          <a:xfrm>
            <a:off x="504000" y="-1"/>
            <a:ext cx="8136000" cy="771525"/>
          </a:xfrm>
        </p:spPr>
        <p:txBody>
          <a:bodyPr vert="horz"/>
          <a:lstStyle/>
          <a:p>
            <a:r>
              <a:rPr lang="en-US" dirty="0">
                <a:highlight>
                  <a:srgbClr val="FFFF00"/>
                </a:highlight>
              </a:rPr>
              <a:t>Innovation ranking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22" name="C3">
            <a:extLst>
              <a:ext uri="{FF2B5EF4-FFF2-40B4-BE49-F238E27FC236}">
                <a16:creationId xmlns:a16="http://schemas.microsoft.com/office/drawing/2014/main" id="{A4B620F4-BBD5-FCB3-29E3-E1ED002B7C91}"/>
              </a:ext>
            </a:extLst>
          </p:cNvPr>
          <p:cNvGraphicFramePr>
            <a:graphicFrameLocks/>
          </p:cNvGraphicFramePr>
          <p:nvPr>
            <p:extLst>
              <p:ext uri="{D42A27DB-BD31-4B8C-83A1-F6EECF244321}">
                <p14:modId xmlns:p14="http://schemas.microsoft.com/office/powerpoint/2010/main" val="2242291066"/>
              </p:ext>
            </p:extLst>
          </p:nvPr>
        </p:nvGraphicFramePr>
        <p:xfrm>
          <a:off x="2613976" y="3867441"/>
          <a:ext cx="5670000" cy="86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2">
            <a:extLst>
              <a:ext uri="{FF2B5EF4-FFF2-40B4-BE49-F238E27FC236}">
                <a16:creationId xmlns:a16="http://schemas.microsoft.com/office/drawing/2014/main" id="{F14B6BD0-7315-D79B-18E4-3D47E1B155EA}"/>
              </a:ext>
            </a:extLst>
          </p:cNvPr>
          <p:cNvGraphicFramePr>
            <a:graphicFrameLocks/>
          </p:cNvGraphicFramePr>
          <p:nvPr>
            <p:extLst>
              <p:ext uri="{D42A27DB-BD31-4B8C-83A1-F6EECF244321}">
                <p14:modId xmlns:p14="http://schemas.microsoft.com/office/powerpoint/2010/main" val="397644972"/>
              </p:ext>
            </p:extLst>
          </p:nvPr>
        </p:nvGraphicFramePr>
        <p:xfrm>
          <a:off x="2613976" y="2036124"/>
          <a:ext cx="5670000" cy="864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2">
            <a:extLst>
              <a:ext uri="{FF2B5EF4-FFF2-40B4-BE49-F238E27FC236}">
                <a16:creationId xmlns:a16="http://schemas.microsoft.com/office/drawing/2014/main" id="{1BB21720-BC0A-A236-BC8E-7E4307EEBC3A}"/>
              </a:ext>
            </a:extLst>
          </p:cNvPr>
          <p:cNvGraphicFramePr>
            <a:graphicFrameLocks/>
          </p:cNvGraphicFramePr>
          <p:nvPr>
            <p:extLst>
              <p:ext uri="{D42A27DB-BD31-4B8C-83A1-F6EECF244321}">
                <p14:modId xmlns:p14="http://schemas.microsoft.com/office/powerpoint/2010/main" val="1774671054"/>
              </p:ext>
            </p:extLst>
          </p:nvPr>
        </p:nvGraphicFramePr>
        <p:xfrm>
          <a:off x="2613976" y="2965200"/>
          <a:ext cx="5670000" cy="864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B5">
            <a:extLst>
              <a:ext uri="{FF2B5EF4-FFF2-40B4-BE49-F238E27FC236}">
                <a16:creationId xmlns:a16="http://schemas.microsoft.com/office/drawing/2014/main" id="{E44A4C24-11DD-281D-7E19-00ADE7FC6104}"/>
              </a:ext>
            </a:extLst>
          </p:cNvPr>
          <p:cNvSpPr txBox="1"/>
          <p:nvPr/>
        </p:nvSpPr>
        <p:spPr>
          <a:xfrm>
            <a:off x="2555874" y="4739972"/>
            <a:ext cx="6084125" cy="20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chemeClr val="tx2"/>
                </a:solidFill>
                <a:effectLst/>
                <a:uLnTx/>
                <a:uFillTx/>
                <a:latin typeface="Nexa Bold"/>
                <a:ea typeface="+mn-ea"/>
                <a:cs typeface="+mn-cs"/>
              </a:rPr>
              <a:t>SKU ranked by shares</a:t>
            </a:r>
            <a:endParaRPr kumimoji="0" lang="en-US" sz="1000" b="0" i="0" u="none" strike="noStrike" kern="1200" cap="none" spc="0" normalizeH="0" baseline="0" noProof="0" dirty="0">
              <a:ln>
                <a:noFill/>
              </a:ln>
              <a:solidFill>
                <a:schemeClr val="tx2"/>
              </a:solidFill>
              <a:effectLst/>
              <a:uLnTx/>
              <a:uFillTx/>
              <a:latin typeface="Nexa Bold" panose="00000800000000000000" pitchFamily="2" charset="0"/>
              <a:ea typeface="Open Sans" panose="020B0604020202020204" charset="0"/>
              <a:cs typeface="Open Sans" panose="020B0604020202020204" charset="0"/>
            </a:endParaRPr>
          </a:p>
        </p:txBody>
      </p:sp>
      <p:sp>
        <p:nvSpPr>
          <p:cNvPr id="12" name="Rectangle 11">
            <a:extLst>
              <a:ext uri="{FF2B5EF4-FFF2-40B4-BE49-F238E27FC236}">
                <a16:creationId xmlns:a16="http://schemas.microsoft.com/office/drawing/2014/main" id="{2107743F-5EFF-6D55-C964-C348A21CF3F7}"/>
              </a:ext>
            </a:extLst>
          </p:cNvPr>
          <p:cNvSpPr/>
          <p:nvPr/>
        </p:nvSpPr>
        <p:spPr>
          <a:xfrm>
            <a:off x="540000" y="1131888"/>
            <a:ext cx="2015873" cy="3608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tlCol="0" anchor="ctr"/>
          <a:lstStyle/>
          <a:p>
            <a:pPr marL="0" marR="0" lvl="0" indent="0" algn="l" defTabSz="685749" rtl="0" eaLnBrk="1" fontAlgn="auto" latinLnBrk="0" hangingPunct="1">
              <a:lnSpc>
                <a:spcPct val="100000"/>
              </a:lnSpc>
              <a:spcBef>
                <a:spcPts val="0"/>
              </a:spcBef>
              <a:spcAft>
                <a:spcPts val="0"/>
              </a:spcAft>
              <a:buClrTx/>
              <a:buSzTx/>
              <a:buFontTx/>
              <a:buNone/>
              <a:tabLst/>
              <a:defRPr/>
            </a:pPr>
            <a:endParaRPr kumimoji="0" lang="en-CH" sz="1200" b="0" i="0" u="none" strike="noStrike" kern="1200" cap="none" spc="0" normalizeH="0" baseline="0" noProof="0">
              <a:ln>
                <a:noFill/>
              </a:ln>
              <a:solidFill>
                <a:srgbClr val="575555"/>
              </a:solidFill>
              <a:effectLst/>
              <a:uLnTx/>
              <a:uFillTx/>
              <a:latin typeface="Nexa Book"/>
              <a:ea typeface="Open Sans" panose="020B0604020202020204" charset="0"/>
              <a:cs typeface="Open Sans" panose="020B0604020202020204" charset="0"/>
            </a:endParaRPr>
          </a:p>
        </p:txBody>
      </p:sp>
      <p:graphicFrame>
        <p:nvGraphicFramePr>
          <p:cNvPr id="13" name="Table 12">
            <a:extLst>
              <a:ext uri="{FF2B5EF4-FFF2-40B4-BE49-F238E27FC236}">
                <a16:creationId xmlns:a16="http://schemas.microsoft.com/office/drawing/2014/main" id="{DC70120A-07A3-BFE2-D5DC-893A48794C32}"/>
              </a:ext>
            </a:extLst>
          </p:cNvPr>
          <p:cNvGraphicFramePr>
            <a:graphicFrameLocks noGrp="1"/>
          </p:cNvGraphicFramePr>
          <p:nvPr>
            <p:extLst>
              <p:ext uri="{D42A27DB-BD31-4B8C-83A1-F6EECF244321}">
                <p14:modId xmlns:p14="http://schemas.microsoft.com/office/powerpoint/2010/main" val="4021527558"/>
              </p:ext>
            </p:extLst>
          </p:nvPr>
        </p:nvGraphicFramePr>
        <p:xfrm>
          <a:off x="8011716" y="1131888"/>
          <a:ext cx="628282" cy="418320"/>
        </p:xfrm>
        <a:graphic>
          <a:graphicData uri="http://schemas.openxmlformats.org/drawingml/2006/table">
            <a:tbl>
              <a:tblPr>
                <a:tableStyleId>{5C22544A-7EE6-4342-B048-85BDC9FD1C3A}</a:tableStyleId>
              </a:tblPr>
              <a:tblGrid>
                <a:gridCol w="628282">
                  <a:extLst>
                    <a:ext uri="{9D8B030D-6E8A-4147-A177-3AD203B41FA5}">
                      <a16:colId xmlns:a16="http://schemas.microsoft.com/office/drawing/2014/main" val="1585592241"/>
                    </a:ext>
                  </a:extLst>
                </a:gridCol>
              </a:tblGrid>
              <a:tr h="0">
                <a:tc>
                  <a:txBody>
                    <a:bodyPr/>
                    <a:lstStyle/>
                    <a:p>
                      <a:pPr algn="ctr"/>
                      <a:r>
                        <a:rPr lang="en-US" sz="900" dirty="0">
                          <a:solidFill>
                            <a:schemeClr val="accent1"/>
                          </a:solidFill>
                          <a:latin typeface="Nexa Bold" panose="00000800000000000000" pitchFamily="2" charset="0"/>
                        </a:rPr>
                        <a:t>New</a:t>
                      </a:r>
                      <a:endParaRPr lang="en-CH" sz="900" dirty="0">
                        <a:solidFill>
                          <a:schemeClr val="accent1"/>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1255901724"/>
                  </a:ext>
                </a:extLst>
              </a:tr>
              <a:tr h="0">
                <a:tc>
                  <a:txBody>
                    <a:bodyPr/>
                    <a:lstStyle/>
                    <a:p>
                      <a:pPr algn="ctr"/>
                      <a:r>
                        <a:rPr lang="en-US" sz="900" dirty="0">
                          <a:solidFill>
                            <a:schemeClr val="accent2"/>
                          </a:solidFill>
                          <a:latin typeface="Nexa Bold" panose="00000800000000000000" pitchFamily="2" charset="0"/>
                        </a:rPr>
                        <a:t>Current</a:t>
                      </a:r>
                      <a:endParaRPr lang="en-CH" sz="900" dirty="0">
                        <a:solidFill>
                          <a:schemeClr val="accent2"/>
                        </a:solidFill>
                        <a:latin typeface="Nexa Bold" panose="00000800000000000000" pitchFamily="2" charset="0"/>
                      </a:endParaRPr>
                    </a:p>
                  </a:txBody>
                  <a:tcPr marL="36000" marR="36000"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519873989"/>
                  </a:ext>
                </a:extLst>
              </a:tr>
            </a:tbl>
          </a:graphicData>
        </a:graphic>
      </p:graphicFrame>
    </p:spTree>
    <p:extLst>
      <p:ext uri="{BB962C8B-B14F-4D97-AF65-F5344CB8AC3E}">
        <p14:creationId xmlns:p14="http://schemas.microsoft.com/office/powerpoint/2010/main" val="3209019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140021-20C8-4545-E279-A321D4157D2C}"/>
              </a:ext>
            </a:extLst>
          </p:cNvPr>
          <p:cNvGraphicFramePr>
            <a:graphicFrameLocks noChangeAspect="1"/>
          </p:cNvGraphicFramePr>
          <p:nvPr>
            <p:custDataLst>
              <p:tags r:id="rId1"/>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8" name="think-cell data - do not delete" hidden="1">
                        <a:extLst>
                          <a:ext uri="{FF2B5EF4-FFF2-40B4-BE49-F238E27FC236}">
                            <a16:creationId xmlns:a16="http://schemas.microsoft.com/office/drawing/2014/main" id="{F7140021-20C8-4545-E279-A321D4157D2C}"/>
                          </a:ext>
                        </a:extLst>
                      </p:cNvPr>
                      <p:cNvPicPr/>
                      <p:nvPr/>
                    </p:nvPicPr>
                    <p:blipFill>
                      <a:blip r:embed="rId4"/>
                      <a:stretch>
                        <a:fillRect/>
                      </a:stretch>
                    </p:blipFill>
                    <p:spPr>
                      <a:xfrm>
                        <a:off x="1193" y="1193"/>
                        <a:ext cx="1191" cy="1191"/>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9FE57B27-8B4D-E42D-13BE-2ACB367CE9DD}"/>
              </a:ext>
            </a:extLst>
          </p:cNvPr>
          <p:cNvSpPr>
            <a:spLocks noGrp="1"/>
          </p:cNvSpPr>
          <p:nvPr>
            <p:ph type="dt" sz="half" idx="14"/>
          </p:nvPr>
        </p:nvSpPr>
        <p:spPr>
          <a:xfrm>
            <a:off x="8082390" y="4972050"/>
            <a:ext cx="557609" cy="171450"/>
          </a:xfrm>
        </p:spPr>
        <p:txBody>
          <a:bodyPr/>
          <a:lstStyle/>
          <a:p>
            <a:pPr lvl="0"/>
            <a:fld id="{1BF773BD-627F-4E37-90AA-A8484C9F2D54}" type="datetime1">
              <a:rPr lang="en-US" noProof="0"/>
              <a:pPr lvl="0"/>
              <a:t>7/31/2025</a:t>
            </a:fld>
            <a:endParaRPr lang="en-US" noProof="0" dirty="0"/>
          </a:p>
        </p:txBody>
      </p:sp>
      <p:sp>
        <p:nvSpPr>
          <p:cNvPr id="11" name="Footer Placeholder 10">
            <a:extLst>
              <a:ext uri="{FF2B5EF4-FFF2-40B4-BE49-F238E27FC236}">
                <a16:creationId xmlns:a16="http://schemas.microsoft.com/office/drawing/2014/main" id="{DD015A0E-D9E7-33A8-ED4F-216571C2ABF9}"/>
              </a:ext>
            </a:extLst>
          </p:cNvPr>
          <p:cNvSpPr>
            <a:spLocks noGrp="1"/>
          </p:cNvSpPr>
          <p:nvPr>
            <p:ph type="ftr" sz="quarter" idx="15"/>
          </p:nvPr>
        </p:nvSpPr>
        <p:spPr>
          <a:xfrm>
            <a:off x="546969" y="4970700"/>
            <a:ext cx="6451742" cy="174151"/>
          </a:xfrm>
        </p:spPr>
        <p:txBody>
          <a:bodyPr/>
          <a:lstStyle/>
          <a:p>
            <a:pPr lvl="0"/>
            <a:endParaRPr lang="en-US" noProof="0"/>
          </a:p>
        </p:txBody>
      </p:sp>
      <p:sp>
        <p:nvSpPr>
          <p:cNvPr id="2" name="Slide Number Placeholder 1">
            <a:extLst>
              <a:ext uri="{FF2B5EF4-FFF2-40B4-BE49-F238E27FC236}">
                <a16:creationId xmlns:a16="http://schemas.microsoft.com/office/drawing/2014/main" id="{E9FF02AB-133B-3FFF-E266-81CC0CC2608F}"/>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a:pPr lvl="0"/>
              <a:t>9</a:t>
            </a:fld>
            <a:endParaRPr lang="en-US" noProof="0" dirty="0"/>
          </a:p>
        </p:txBody>
      </p:sp>
      <p:sp>
        <p:nvSpPr>
          <p:cNvPr id="8" name="Text Placeholder 7">
            <a:extLst>
              <a:ext uri="{FF2B5EF4-FFF2-40B4-BE49-F238E27FC236}">
                <a16:creationId xmlns:a16="http://schemas.microsoft.com/office/drawing/2014/main" id="{48281850-236B-4313-99A6-E1EAEBB77165}"/>
              </a:ext>
            </a:extLst>
          </p:cNvPr>
          <p:cNvSpPr>
            <a:spLocks noGrp="1"/>
          </p:cNvSpPr>
          <p:nvPr>
            <p:ph type="body" sz="quarter" idx="17"/>
          </p:nvPr>
        </p:nvSpPr>
        <p:spPr>
          <a:xfrm>
            <a:off x="0" y="4734106"/>
            <a:ext cx="4572000" cy="222878"/>
          </a:xfrm>
        </p:spPr>
        <p:txBody>
          <a:bodyPr/>
          <a:lstStyle/>
          <a:p>
            <a:r>
              <a:t>DATA SOURCE: Consumer Test | June 2025</a:t>
            </a:r>
          </a:p>
        </p:txBody>
      </p:sp>
      <p:sp>
        <p:nvSpPr>
          <p:cNvPr id="5" name="Content Placeholder 4">
            <a:extLst>
              <a:ext uri="{FF2B5EF4-FFF2-40B4-BE49-F238E27FC236}">
                <a16:creationId xmlns:a16="http://schemas.microsoft.com/office/drawing/2014/main" id="{F2A98AF2-8042-4280-BEB7-41439E7B7D82}"/>
              </a:ext>
            </a:extLst>
          </p:cNvPr>
          <p:cNvSpPr>
            <a:spLocks noGrp="1"/>
          </p:cNvSpPr>
          <p:nvPr>
            <p:ph type="body" sz="quarter" idx="18"/>
          </p:nvPr>
        </p:nvSpPr>
        <p:spPr>
          <a:xfrm>
            <a:off x="503238" y="774000"/>
            <a:ext cx="8136762" cy="360000"/>
          </a:xfrm>
        </p:spPr>
        <p:txBody>
          <a:bodyPr/>
          <a:lstStyle/>
          <a:p>
            <a:pPr>
              <a:defRPr sz="1200">
                <a:latin typeface="Nexa Bold (Headings)"/>
              </a:defRPr>
            </a:pPr>
            <a:r>
              <a:t>Innovation Potential when introducing each innovation one by one | Walmart | Advanced Protection</a:t>
            </a:r>
          </a:p>
        </p:txBody>
      </p:sp>
      <p:sp>
        <p:nvSpPr>
          <p:cNvPr id="3" name="Title 2">
            <a:extLst>
              <a:ext uri="{FF2B5EF4-FFF2-40B4-BE49-F238E27FC236}">
                <a16:creationId xmlns:a16="http://schemas.microsoft.com/office/drawing/2014/main" id="{6749D710-19C8-466B-9F84-7BF9A24376D2}"/>
              </a:ext>
            </a:extLst>
          </p:cNvPr>
          <p:cNvSpPr>
            <a:spLocks noGrp="1"/>
          </p:cNvSpPr>
          <p:nvPr>
            <p:ph type="title"/>
          </p:nvPr>
        </p:nvSpPr>
        <p:spPr>
          <a:xfrm>
            <a:off x="504000" y="-1"/>
            <a:ext cx="8136000" cy="771525"/>
          </a:xfrm>
        </p:spPr>
        <p:txBody>
          <a:bodyPr vert="horz"/>
          <a:lstStyle/>
          <a:p>
            <a:r>
              <a:rPr lang="en-US" dirty="0">
                <a:highlight>
                  <a:srgbClr val="FFFF00"/>
                </a:highlight>
              </a:rPr>
              <a:t>Innovation potential </a:t>
            </a:r>
            <a:r>
              <a:rPr lang="en-US" dirty="0">
                <a:solidFill>
                  <a:schemeClr val="bg2">
                    <a:lumMod val="90000"/>
                  </a:schemeClr>
                </a:solidFill>
                <a:highlight>
                  <a:srgbClr val="FFFF00"/>
                </a:highlight>
              </a:rPr>
              <a:t>(Replace with SO WHAT)</a:t>
            </a:r>
            <a:endParaRPr lang="en-CH" dirty="0">
              <a:solidFill>
                <a:schemeClr val="bg2">
                  <a:lumMod val="90000"/>
                </a:schemeClr>
              </a:solidFill>
              <a:highlight>
                <a:srgbClr val="FFFF00"/>
              </a:highlight>
            </a:endParaRPr>
          </a:p>
        </p:txBody>
      </p:sp>
      <p:graphicFrame>
        <p:nvGraphicFramePr>
          <p:cNvPr id="9" name="C1">
            <a:extLst>
              <a:ext uri="{FF2B5EF4-FFF2-40B4-BE49-F238E27FC236}">
                <a16:creationId xmlns:a16="http://schemas.microsoft.com/office/drawing/2014/main" id="{8BAAE72A-4E11-4E4F-9088-41E58E89CF65}"/>
              </a:ext>
            </a:extLst>
          </p:cNvPr>
          <p:cNvGraphicFramePr>
            <a:graphicFrameLocks/>
          </p:cNvGraphicFramePr>
          <p:nvPr>
            <p:extLst>
              <p:ext uri="{D42A27DB-BD31-4B8C-83A1-F6EECF244321}">
                <p14:modId xmlns:p14="http://schemas.microsoft.com/office/powerpoint/2010/main" val="33729740"/>
              </p:ext>
            </p:extLst>
          </p:nvPr>
        </p:nvGraphicFramePr>
        <p:xfrm>
          <a:off x="1564788" y="1152000"/>
          <a:ext cx="7075212" cy="28241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BD34EF07-C768-4167-B12A-4618C6A4B6C6}"/>
              </a:ext>
            </a:extLst>
          </p:cNvPr>
          <p:cNvSpPr txBox="1"/>
          <p:nvPr/>
        </p:nvSpPr>
        <p:spPr>
          <a:xfrm>
            <a:off x="0" y="1131888"/>
            <a:ext cx="1469572" cy="21726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000" tIns="27000" rIns="27000" bIns="27000" rtlCol="0" anchor="ctr">
            <a:spAutoFit/>
          </a:bodyPr>
          <a:lstStyle/>
          <a:p>
            <a:pPr>
              <a:defRPr sz="800">
                <a:latin typeface="Nexa Book"/>
              </a:defRPr>
            </a:pPr>
            <a:r>
              <a:rPr>
                <a:solidFill>
                  <a:srgbClr val="575555"/>
                </a:solidFill>
              </a:rPr>
              <a:t>WD assumption = 50 WD</a:t>
            </a:r>
          </a:p>
        </p:txBody>
      </p:sp>
      <p:graphicFrame>
        <p:nvGraphicFramePr>
          <p:cNvPr id="13" name="T1">
            <a:extLst>
              <a:ext uri="{FF2B5EF4-FFF2-40B4-BE49-F238E27FC236}">
                <a16:creationId xmlns:a16="http://schemas.microsoft.com/office/drawing/2014/main" id="{E6160B1D-A234-40CC-95E2-D23E09AF105D}"/>
              </a:ext>
            </a:extLst>
          </p:cNvPr>
          <p:cNvGraphicFramePr>
            <a:graphicFrameLocks/>
          </p:cNvGraphicFramePr>
          <p:nvPr>
            <p:extLst>
              <p:ext uri="{D42A27DB-BD31-4B8C-83A1-F6EECF244321}">
                <p14:modId xmlns:p14="http://schemas.microsoft.com/office/powerpoint/2010/main" val="1359493643"/>
              </p:ext>
            </p:extLst>
          </p:nvPr>
        </p:nvGraphicFramePr>
        <p:xfrm>
          <a:off x="174228" y="3979225"/>
          <a:ext cx="8464425" cy="708660"/>
        </p:xfrm>
        <a:graphic>
          <a:graphicData uri="http://schemas.openxmlformats.org/drawingml/2006/table">
            <a:tbl>
              <a:tblPr firstRow="1" bandRow="1">
                <a:tableStyleId>{5C22544A-7EE6-4342-B048-85BDC9FD1C3A}</a:tableStyleId>
              </a:tblPr>
              <a:tblGrid>
                <a:gridCol w="1449747">
                  <a:extLst>
                    <a:ext uri="{9D8B030D-6E8A-4147-A177-3AD203B41FA5}">
                      <a16:colId xmlns:a16="http://schemas.microsoft.com/office/drawing/2014/main" val="1646652903"/>
                    </a:ext>
                  </a:extLst>
                </a:gridCol>
                <a:gridCol w="7014678">
                  <a:extLst>
                    <a:ext uri="{9D8B030D-6E8A-4147-A177-3AD203B41FA5}">
                      <a16:colId xmlns:a16="http://schemas.microsoft.com/office/drawing/2014/main" val="4292788590"/>
                    </a:ext>
                  </a:extLst>
                </a:gridCol>
              </a:tblGrid>
              <a:tr h="320040">
                <a:tc>
                  <a:txBody>
                    <a:bodyPr/>
                    <a:lstStyle/>
                    <a:p>
                      <a:pPr>
                        <a:defRPr>
                          <a:latin typeface="Nexa Bold"/>
                        </a:defRPr>
                      </a:pPr>
                      <a:r>
                        <a:rPr sz="800" b="0"/>
                        <a:t>Cannibalization within </a:t>
                      </a:r>
                    </a:p>
                    <a:p>
                      <a:pPr>
                        <a:defRPr>
                          <a:latin typeface="Nexa Bold"/>
                        </a:defRPr>
                      </a:pPr>
                      <a:r>
                        <a:rPr sz="800" b="0"/>
                        <a:t>Edgewell portfolio</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defRPr>
                          <a:latin typeface="Nexa Bold"/>
                        </a:defRPr>
                      </a:pPr>
                      <a:r>
                        <a:rPr sz="800" b="0"/>
                        <a:t>51%</a:t>
                      </a:r>
                    </a:p>
                  </a:txBody>
                  <a:tcPr marL="2381" marR="2381" marT="2381"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mpd="sng">
                      <a:noFill/>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62297014"/>
                  </a:ext>
                </a:extLst>
              </a:tr>
              <a:tr h="194310">
                <a:tc>
                  <a:txBody>
                    <a:bodyPr/>
                    <a:lstStyle/>
                    <a:p>
                      <a:pPr>
                        <a:defRPr>
                          <a:latin typeface="Nexa Bold"/>
                        </a:defRPr>
                      </a:pPr>
                      <a:r>
                        <a:rPr sz="800" b="0"/>
                        <a:t>Edgewell Value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8</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6007220"/>
                  </a:ext>
                </a:extLst>
              </a:tr>
              <a:tr h="194310">
                <a:tc>
                  <a:txBody>
                    <a:bodyPr/>
                    <a:lstStyle/>
                    <a:p>
                      <a:pPr>
                        <a:defRPr>
                          <a:latin typeface="Nexa Bold"/>
                        </a:defRPr>
                      </a:pPr>
                      <a:r>
                        <a:rPr sz="800" b="0"/>
                        <a:t>Edgewell Gross Profit Ix</a:t>
                      </a:r>
                    </a:p>
                  </a:txBody>
                  <a:tcPr marL="68580" marR="68580" marT="34290" marB="34290" anchor="ctr">
                    <a:lnL w="12700" cmpd="sng">
                      <a:noFill/>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defRPr>
                          <a:latin typeface="Nexa Book"/>
                        </a:defRPr>
                      </a:pPr>
                      <a:r>
                        <a:rPr sz="800" b="0"/>
                        <a:t>100.4</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512300"/>
                  </a:ext>
                </a:extLst>
              </a:tr>
            </a:tbl>
          </a:graphicData>
        </a:graphic>
      </p:graphicFrame>
    </p:spTree>
    <p:extLst>
      <p:ext uri="{BB962C8B-B14F-4D97-AF65-F5344CB8AC3E}">
        <p14:creationId xmlns:p14="http://schemas.microsoft.com/office/powerpoint/2010/main" val="2645800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1786C5-D6DC-4DB9-87D8-B24F55D31899}">
  <ds:schemaRefs>
    <ds:schemaRef ds:uri="http://schemas.microsoft.com/sharepoint/v3/contenttype/forms"/>
  </ds:schemaRefs>
</ds:datastoreItem>
</file>

<file path=customXml/itemProps2.xml><?xml version="1.0" encoding="utf-8"?>
<ds:datastoreItem xmlns:ds="http://schemas.openxmlformats.org/officeDocument/2006/customXml" ds:itemID="{09069D81-7D0D-4539-9F54-7E79AD6EBD13}">
  <ds:schemaRefs>
    <ds:schemaRef ds:uri="http://schemas.microsoft.com/office/infopath/2007/PartnerControls"/>
    <ds:schemaRef ds:uri="http://schemas.microsoft.com/office/2006/metadata/properties"/>
    <ds:schemaRef ds:uri="474cf4e4-8a51-432b-9e1b-0ea607ac38ff"/>
    <ds:schemaRef ds:uri="http://schemas.microsoft.com/office/2006/documentManagement/types"/>
    <ds:schemaRef ds:uri="http://schemas.openxmlformats.org/package/2006/metadata/core-properties"/>
    <ds:schemaRef ds:uri="http://purl.org/dc/elements/1.1/"/>
    <ds:schemaRef ds:uri="http://purl.org/dc/terms/"/>
    <ds:schemaRef ds:uri="0ad93b7f-b0cd-4c46-aaaf-ff14495948cf"/>
    <ds:schemaRef ds:uri="http://www.w3.org/XML/1998/namespace"/>
    <ds:schemaRef ds:uri="http://purl.org/dc/dcmitype/"/>
  </ds:schemaRefs>
</ds:datastoreItem>
</file>

<file path=customXml/itemProps3.xml><?xml version="1.0" encoding="utf-8"?>
<ds:datastoreItem xmlns:ds="http://schemas.openxmlformats.org/officeDocument/2006/customXml" ds:itemID="{3D75CFAE-90C7-4A64-8937-E4AA45CA8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99</Words>
  <Application>Microsoft Office PowerPoint</Application>
  <PresentationFormat>On-screen Show (16:9)</PresentationFormat>
  <Paragraphs>758</Paragraphs>
  <Slides>2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Nexa</vt:lpstr>
      <vt:lpstr>Nexa Bold</vt:lpstr>
      <vt:lpstr>Nexa Book</vt:lpstr>
      <vt:lpstr>Nexa Book Italic</vt:lpstr>
      <vt:lpstr>Open Sans</vt:lpstr>
      <vt:lpstr>PricingOne Light Template Oct 2024</vt:lpstr>
      <vt:lpstr>think-cell Slide</vt:lpstr>
      <vt:lpstr>Innovation summary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ranking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potential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lpstr>Innovation sourcing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ophie  ZIMMERMANN</dc:creator>
  <cp:lastModifiedBy>Salma ANANY</cp:lastModifiedBy>
  <cp:revision>15</cp:revision>
  <dcterms:created xsi:type="dcterms:W3CDTF">2024-07-08T12:20:01Z</dcterms:created>
  <dcterms:modified xsi:type="dcterms:W3CDTF">2025-07-31T08:2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